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4" r:id="rId4"/>
  </p:sldMasterIdLst>
  <p:notesMasterIdLst>
    <p:notesMasterId r:id="rId15"/>
  </p:notesMasterIdLst>
  <p:handoutMasterIdLst>
    <p:handoutMasterId r:id="rId16"/>
  </p:handoutMasterIdLst>
  <p:sldIdLst>
    <p:sldId id="283" r:id="rId5"/>
    <p:sldId id="2528" r:id="rId6"/>
    <p:sldId id="2449" r:id="rId7"/>
    <p:sldId id="2531" r:id="rId8"/>
    <p:sldId id="2533" r:id="rId9"/>
    <p:sldId id="2524" r:id="rId10"/>
    <p:sldId id="2532" r:id="rId11"/>
    <p:sldId id="2534" r:id="rId12"/>
    <p:sldId id="2526" r:id="rId13"/>
    <p:sldId id="2522" r:id="rId14"/>
  </p:sldIdLst>
  <p:sldSz cx="9144000" cy="5143500" type="screen16x9"/>
  <p:notesSz cx="6858000" cy="9144000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45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orient="horz" pos="2868" userDrawn="1">
          <p15:clr>
            <a:srgbClr val="A4A3A4"/>
          </p15:clr>
        </p15:guide>
        <p15:guide id="4" orient="horz" pos="3108" userDrawn="1">
          <p15:clr>
            <a:srgbClr val="A4A3A4"/>
          </p15:clr>
        </p15:guide>
        <p15:guide id="5" pos="5568" userDrawn="1">
          <p15:clr>
            <a:srgbClr val="A4A3A4"/>
          </p15:clr>
        </p15:guide>
        <p15:guide id="6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 Mccormack" initials="CM" lastIdx="13" clrIdx="0">
    <p:extLst>
      <p:ext uri="{19B8F6BF-5375-455C-9EA6-DF929625EA0E}">
        <p15:presenceInfo xmlns:p15="http://schemas.microsoft.com/office/powerpoint/2012/main" userId="S::mccormack.chris@ch.sika.com::5cce2538-88f1-496b-a322-dec88ead757d" providerId="AD"/>
      </p:ext>
    </p:extLst>
  </p:cmAuthor>
  <p:cmAuthor id="2" name="Pascal Hodler" initials="PH" lastIdx="10" clrIdx="1">
    <p:extLst>
      <p:ext uri="{19B8F6BF-5375-455C-9EA6-DF929625EA0E}">
        <p15:presenceInfo xmlns:p15="http://schemas.microsoft.com/office/powerpoint/2012/main" userId="S::hodler.pascal@ch.sika.com::223ce648-bd98-49ab-b2b3-a1a85b66f65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D1E9"/>
    <a:srgbClr val="6E95B2"/>
    <a:srgbClr val="7C7C7C"/>
    <a:srgbClr val="F2F2F2"/>
    <a:srgbClr val="F5B11F"/>
    <a:srgbClr val="4B4B4B"/>
    <a:srgbClr val="BFBFBF"/>
    <a:srgbClr val="50758D"/>
    <a:srgbClr val="F5B32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4B67DF-D4CC-4CCA-8628-1A20B9DC31F2}" v="87" dt="2024-02-05T07:36:57.7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4660"/>
  </p:normalViewPr>
  <p:slideViewPr>
    <p:cSldViewPr snapToGrid="0">
      <p:cViewPr varScale="1">
        <p:scale>
          <a:sx n="123" d="100"/>
          <a:sy n="123" d="100"/>
        </p:scale>
        <p:origin x="108" y="408"/>
      </p:cViewPr>
      <p:guideLst>
        <p:guide orient="horz" pos="645"/>
        <p:guide pos="192"/>
        <p:guide orient="horz" pos="2868"/>
        <p:guide orient="horz" pos="3108"/>
        <p:guide pos="556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uricio Pena" userId="e8c94f7e-bc6e-4c95-ac94-d3ff72f76780" providerId="ADAL" clId="{B0B0C007-45D6-4959-BAA4-F8CFD9D4A287}"/>
    <pc:docChg chg="undo redo custSel addSld delSld modSld sldOrd modMainMaster">
      <pc:chgData name="Mauricio Pena" userId="e8c94f7e-bc6e-4c95-ac94-d3ff72f76780" providerId="ADAL" clId="{B0B0C007-45D6-4959-BAA4-F8CFD9D4A287}" dt="2023-04-14T10:40:16.656" v="1346" actId="478"/>
      <pc:docMkLst>
        <pc:docMk/>
      </pc:docMkLst>
      <pc:sldChg chg="addSp delSp mod">
        <pc:chgData name="Mauricio Pena" userId="e8c94f7e-bc6e-4c95-ac94-d3ff72f76780" providerId="ADAL" clId="{B0B0C007-45D6-4959-BAA4-F8CFD9D4A287}" dt="2023-03-27T07:00:34.550" v="2" actId="478"/>
        <pc:sldMkLst>
          <pc:docMk/>
          <pc:sldMk cId="0" sldId="283"/>
        </pc:sldMkLst>
        <pc:spChg chg="del">
          <ac:chgData name="Mauricio Pena" userId="e8c94f7e-bc6e-4c95-ac94-d3ff72f76780" providerId="ADAL" clId="{B0B0C007-45D6-4959-BAA4-F8CFD9D4A287}" dt="2023-03-27T07:00:31.110" v="0" actId="478"/>
          <ac:spMkLst>
            <pc:docMk/>
            <pc:sldMk cId="0" sldId="283"/>
            <ac:spMk id="9" creationId="{7D9D145E-B543-77B7-AACB-76D3B5B77392}"/>
          </ac:spMkLst>
        </pc:spChg>
        <pc:picChg chg="add del">
          <ac:chgData name="Mauricio Pena" userId="e8c94f7e-bc6e-4c95-ac94-d3ff72f76780" providerId="ADAL" clId="{B0B0C007-45D6-4959-BAA4-F8CFD9D4A287}" dt="2023-03-27T07:00:34.550" v="2" actId="478"/>
          <ac:picMkLst>
            <pc:docMk/>
            <pc:sldMk cId="0" sldId="283"/>
            <ac:picMk id="6" creationId="{A5CC6D39-1ECB-F645-1AFE-2F0C03041A97}"/>
          </ac:picMkLst>
        </pc:picChg>
      </pc:sldChg>
      <pc:sldChg chg="addSp delSp modSp mod">
        <pc:chgData name="Mauricio Pena" userId="e8c94f7e-bc6e-4c95-ac94-d3ff72f76780" providerId="ADAL" clId="{B0B0C007-45D6-4959-BAA4-F8CFD9D4A287}" dt="2023-04-14T10:26:00.506" v="1295" actId="108"/>
        <pc:sldMkLst>
          <pc:docMk/>
          <pc:sldMk cId="2681821491" sldId="2449"/>
        </pc:sldMkLst>
        <pc:spChg chg="add mod">
          <ac:chgData name="Mauricio Pena" userId="e8c94f7e-bc6e-4c95-ac94-d3ff72f76780" providerId="ADAL" clId="{B0B0C007-45D6-4959-BAA4-F8CFD9D4A287}" dt="2023-03-27T08:13:32.348" v="655" actId="1076"/>
          <ac:spMkLst>
            <pc:docMk/>
            <pc:sldMk cId="2681821491" sldId="2449"/>
            <ac:spMk id="2" creationId="{03533167-ABEF-E4A3-FBF3-5058418F8E03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4" creationId="{B7DA9801-0835-4143-95FD-E14093FEC971}"/>
          </ac:spMkLst>
        </pc:spChg>
        <pc:spChg chg="add del">
          <ac:chgData name="Mauricio Pena" userId="e8c94f7e-bc6e-4c95-ac94-d3ff72f76780" providerId="ADAL" clId="{B0B0C007-45D6-4959-BAA4-F8CFD9D4A287}" dt="2023-03-27T08:12:24.533" v="648" actId="11529"/>
          <ac:spMkLst>
            <pc:docMk/>
            <pc:sldMk cId="2681821491" sldId="2449"/>
            <ac:spMk id="7" creationId="{8C5F13A0-2A60-EE56-C1EC-F5C7EE7CB9DE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7" creationId="{EE168066-909E-89FE-A3A0-91FF1A3B66FC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9" creationId="{45557366-5F4C-56C0-160B-0BAEC74915D1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1" creationId="{DBB24995-CD2D-E53E-4BA1-B3F04F779E3F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2" creationId="{86CCF9F4-418E-880B-CCFA-DC1D1DF82100}"/>
          </ac:spMkLst>
        </pc:spChg>
        <pc:spChg chg="mod">
          <ac:chgData name="Mauricio Pena" userId="e8c94f7e-bc6e-4c95-ac94-d3ff72f76780" providerId="ADAL" clId="{B0B0C007-45D6-4959-BAA4-F8CFD9D4A287}" dt="2023-04-14T10:26:00.506" v="1295" actId="108"/>
          <ac:spMkLst>
            <pc:docMk/>
            <pc:sldMk cId="2681821491" sldId="2449"/>
            <ac:spMk id="13" creationId="{77C03213-BC74-721D-B1FF-4A10B6C7EDBC}"/>
          </ac:spMkLst>
        </pc:spChg>
      </pc:sldChg>
      <pc:sldChg chg="modSp mod">
        <pc:chgData name="Mauricio Pena" userId="e8c94f7e-bc6e-4c95-ac94-d3ff72f76780" providerId="ADAL" clId="{B0B0C007-45D6-4959-BAA4-F8CFD9D4A287}" dt="2023-03-27T08:11:08.048" v="630" actId="255"/>
        <pc:sldMkLst>
          <pc:docMk/>
          <pc:sldMk cId="7716683" sldId="2522"/>
        </pc:sldMkLst>
        <pc:spChg chg="mod">
          <ac:chgData name="Mauricio Pena" userId="e8c94f7e-bc6e-4c95-ac94-d3ff72f76780" providerId="ADAL" clId="{B0B0C007-45D6-4959-BAA4-F8CFD9D4A287}" dt="2023-03-27T08:10:25.919" v="627" actId="403"/>
          <ac:spMkLst>
            <pc:docMk/>
            <pc:sldMk cId="7716683" sldId="2522"/>
            <ac:spMk id="3" creationId="{BCCE3648-8753-4528-81B2-38C8DA48DA6F}"/>
          </ac:spMkLst>
        </pc:spChg>
        <pc:spChg chg="mod">
          <ac:chgData name="Mauricio Pena" userId="e8c94f7e-bc6e-4c95-ac94-d3ff72f76780" providerId="ADAL" clId="{B0B0C007-45D6-4959-BAA4-F8CFD9D4A287}" dt="2023-03-27T08:11:08.048" v="630" actId="255"/>
          <ac:spMkLst>
            <pc:docMk/>
            <pc:sldMk cId="7716683" sldId="2522"/>
            <ac:spMk id="6" creationId="{12A55244-6BBD-3CC0-ACDF-47D4610B081F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25:48.096" v="1294" actId="14100"/>
        <pc:sldMkLst>
          <pc:docMk/>
          <pc:sldMk cId="1373680846" sldId="2524"/>
        </pc:sldMkLst>
        <pc:spChg chg="mod">
          <ac:chgData name="Mauricio Pena" userId="e8c94f7e-bc6e-4c95-ac94-d3ff72f76780" providerId="ADAL" clId="{B0B0C007-45D6-4959-BAA4-F8CFD9D4A287}" dt="2023-03-27T08:09:21.740" v="619"/>
          <ac:spMkLst>
            <pc:docMk/>
            <pc:sldMk cId="1373680846" sldId="2524"/>
            <ac:spMk id="4" creationId="{B7DA9801-0835-4143-95FD-E14093FEC971}"/>
          </ac:spMkLst>
        </pc:spChg>
        <pc:spChg chg="add del mod">
          <ac:chgData name="Mauricio Pena" userId="e8c94f7e-bc6e-4c95-ac94-d3ff72f76780" providerId="ADAL" clId="{B0B0C007-45D6-4959-BAA4-F8CFD9D4A287}" dt="2023-03-27T08:14:26.562" v="657" actId="478"/>
          <ac:spMkLst>
            <pc:docMk/>
            <pc:sldMk cId="1373680846" sldId="2524"/>
            <ac:spMk id="7" creationId="{1067DCAC-93E1-37E7-30AF-07D40E314877}"/>
          </ac:spMkLst>
        </pc:spChg>
        <pc:spChg chg="mod">
          <ac:chgData name="Mauricio Pena" userId="e8c94f7e-bc6e-4c95-ac94-d3ff72f76780" providerId="ADAL" clId="{B0B0C007-45D6-4959-BAA4-F8CFD9D4A287}" dt="2023-04-14T10:25:48.096" v="1294" actId="14100"/>
          <ac:spMkLst>
            <pc:docMk/>
            <pc:sldMk cId="1373680846" sldId="2524"/>
            <ac:spMk id="7" creationId="{C6A67DE8-CBD4-272E-7FE3-E9AD2A09278E}"/>
          </ac:spMkLst>
        </pc:spChg>
        <pc:spChg chg="add mod">
          <ac:chgData name="Mauricio Pena" userId="e8c94f7e-bc6e-4c95-ac94-d3ff72f76780" providerId="ADAL" clId="{B0B0C007-45D6-4959-BAA4-F8CFD9D4A287}" dt="2023-03-27T08:14:49.264" v="660" actId="1076"/>
          <ac:spMkLst>
            <pc:docMk/>
            <pc:sldMk cId="1373680846" sldId="2524"/>
            <ac:spMk id="11" creationId="{D686F126-6E22-B28A-B749-0BCC34F504E7}"/>
          </ac:spMkLst>
        </pc:spChg>
        <pc:spChg chg="mod">
          <ac:chgData name="Mauricio Pena" userId="e8c94f7e-bc6e-4c95-ac94-d3ff72f76780" providerId="ADAL" clId="{B0B0C007-45D6-4959-BAA4-F8CFD9D4A287}" dt="2023-03-27T07:43:06.669" v="507" actId="1076"/>
          <ac:spMkLst>
            <pc:docMk/>
            <pc:sldMk cId="1373680846" sldId="2524"/>
            <ac:spMk id="58" creationId="{C3A9EE8E-EBC8-40E8-A7C4-EB5621D3DABC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35:27.691" v="1319" actId="9405"/>
        <pc:sldMkLst>
          <pc:docMk/>
          <pc:sldMk cId="2770796793" sldId="2525"/>
        </pc:sldMkLst>
        <pc:spChg chg="mod">
          <ac:chgData name="Mauricio Pena" userId="e8c94f7e-bc6e-4c95-ac94-d3ff72f76780" providerId="ADAL" clId="{B0B0C007-45D6-4959-BAA4-F8CFD9D4A287}" dt="2023-03-27T08:09:35.609" v="622"/>
          <ac:spMkLst>
            <pc:docMk/>
            <pc:sldMk cId="2770796793" sldId="2525"/>
            <ac:spMk id="4" creationId="{B7DA9801-0835-4143-95FD-E14093FEC971}"/>
          </ac:spMkLst>
        </pc:spChg>
        <pc:spChg chg="mod">
          <ac:chgData name="Mauricio Pena" userId="e8c94f7e-bc6e-4c95-ac94-d3ff72f76780" providerId="ADAL" clId="{B0B0C007-45D6-4959-BAA4-F8CFD9D4A287}" dt="2023-03-27T08:09:30.711" v="621" actId="1076"/>
          <ac:spMkLst>
            <pc:docMk/>
            <pc:sldMk cId="2770796793" sldId="2525"/>
            <ac:spMk id="5" creationId="{444E32C3-FFC6-41E3-A361-663774D7500E}"/>
          </ac:spMkLst>
        </pc:spChg>
        <pc:spChg chg="add mod">
          <ac:chgData name="Mauricio Pena" userId="e8c94f7e-bc6e-4c95-ac94-d3ff72f76780" providerId="ADAL" clId="{B0B0C007-45D6-4959-BAA4-F8CFD9D4A287}" dt="2023-03-27T08:15:07.716" v="663" actId="1076"/>
          <ac:spMkLst>
            <pc:docMk/>
            <pc:sldMk cId="2770796793" sldId="2525"/>
            <ac:spMk id="7" creationId="{3812600F-9502-96F1-0F05-2B62445237DF}"/>
          </ac:spMkLst>
        </pc:spChg>
        <pc:spChg chg="mod">
          <ac:chgData name="Mauricio Pena" userId="e8c94f7e-bc6e-4c95-ac94-d3ff72f76780" providerId="ADAL" clId="{B0B0C007-45D6-4959-BAA4-F8CFD9D4A287}" dt="2023-04-14T10:26:48.019" v="1298" actId="14100"/>
          <ac:spMkLst>
            <pc:docMk/>
            <pc:sldMk cId="2770796793" sldId="2525"/>
            <ac:spMk id="9" creationId="{B163033E-E5DF-473F-6E93-398C07A5AAD4}"/>
          </ac:spMkLst>
        </pc:spChg>
        <pc:inkChg chg="add del">
          <ac:chgData name="Mauricio Pena" userId="e8c94f7e-bc6e-4c95-ac94-d3ff72f76780" providerId="ADAL" clId="{B0B0C007-45D6-4959-BAA4-F8CFD9D4A287}" dt="2023-04-14T10:35:09.517" v="1316" actId="9405"/>
          <ac:inkMkLst>
            <pc:docMk/>
            <pc:sldMk cId="2770796793" sldId="2525"/>
            <ac:inkMk id="11" creationId="{4A6AEF7A-E7D2-7DBF-C672-A1E6B7A2829D}"/>
          </ac:inkMkLst>
        </pc:inkChg>
        <pc:inkChg chg="add del">
          <ac:chgData name="Mauricio Pena" userId="e8c94f7e-bc6e-4c95-ac94-d3ff72f76780" providerId="ADAL" clId="{B0B0C007-45D6-4959-BAA4-F8CFD9D4A287}" dt="2023-04-14T10:35:27.691" v="1319" actId="9405"/>
          <ac:inkMkLst>
            <pc:docMk/>
            <pc:sldMk cId="2770796793" sldId="2525"/>
            <ac:inkMk id="12" creationId="{7A0296C7-F93E-1B29-7FA1-0F93FD3F1ECD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38:18.073" v="1334" actId="478"/>
        <pc:sldMkLst>
          <pc:docMk/>
          <pc:sldMk cId="2558631534" sldId="2526"/>
        </pc:sldMkLst>
        <pc:spChg chg="mod">
          <ac:chgData name="Mauricio Pena" userId="e8c94f7e-bc6e-4c95-ac94-d3ff72f76780" providerId="ADAL" clId="{B0B0C007-45D6-4959-BAA4-F8CFD9D4A287}" dt="2023-03-27T08:09:44.893" v="623"/>
          <ac:spMkLst>
            <pc:docMk/>
            <pc:sldMk cId="2558631534" sldId="2526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5:34.255" v="666" actId="1076"/>
          <ac:spMkLst>
            <pc:docMk/>
            <pc:sldMk cId="2558631534" sldId="2526"/>
            <ac:spMk id="7" creationId="{D36F363F-ED86-D1FD-6AE5-27E7029AE948}"/>
          </ac:spMkLst>
        </pc:spChg>
        <pc:spChg chg="mod">
          <ac:chgData name="Mauricio Pena" userId="e8c94f7e-bc6e-4c95-ac94-d3ff72f76780" providerId="ADAL" clId="{B0B0C007-45D6-4959-BAA4-F8CFD9D4A287}" dt="2023-04-14T10:38:06.571" v="1332" actId="14100"/>
          <ac:spMkLst>
            <pc:docMk/>
            <pc:sldMk cId="2558631534" sldId="2526"/>
            <ac:spMk id="9" creationId="{28679B20-270D-B677-C952-3959B281F19B}"/>
          </ac:spMkLst>
        </pc:spChg>
        <pc:spChg chg="del mod">
          <ac:chgData name="Mauricio Pena" userId="e8c94f7e-bc6e-4c95-ac94-d3ff72f76780" providerId="ADAL" clId="{B0B0C007-45D6-4959-BAA4-F8CFD9D4A287}" dt="2023-04-14T10:29:23.679" v="1312" actId="478"/>
          <ac:spMkLst>
            <pc:docMk/>
            <pc:sldMk cId="2558631534" sldId="2526"/>
            <ac:spMk id="9" creationId="{98036236-7269-6E39-14B0-85D1BE0BDBA3}"/>
          </ac:spMkLst>
        </pc:spChg>
        <pc:spChg chg="add del mod">
          <ac:chgData name="Mauricio Pena" userId="e8c94f7e-bc6e-4c95-ac94-d3ff72f76780" providerId="ADAL" clId="{B0B0C007-45D6-4959-BAA4-F8CFD9D4A287}" dt="2023-04-14T10:35:52.153" v="1323" actId="478"/>
          <ac:spMkLst>
            <pc:docMk/>
            <pc:sldMk cId="2558631534" sldId="2526"/>
            <ac:spMk id="10" creationId="{3802DE6D-B8DF-8F4F-03EF-C08FEE04AF2F}"/>
          </ac:spMkLst>
        </pc:spChg>
        <pc:spChg chg="add del mod">
          <ac:chgData name="Mauricio Pena" userId="e8c94f7e-bc6e-4c95-ac94-d3ff72f76780" providerId="ADAL" clId="{B0B0C007-45D6-4959-BAA4-F8CFD9D4A287}" dt="2023-04-14T10:38:16.897" v="1333" actId="478"/>
          <ac:spMkLst>
            <pc:docMk/>
            <pc:sldMk cId="2558631534" sldId="2526"/>
            <ac:spMk id="12" creationId="{264FF6F5-DD54-6E2E-6B8A-575F0C0F1963}"/>
          </ac:spMkLst>
        </pc:spChg>
        <pc:picChg chg="add del mod">
          <ac:chgData name="Mauricio Pena" userId="e8c94f7e-bc6e-4c95-ac94-d3ff72f76780" providerId="ADAL" clId="{B0B0C007-45D6-4959-BAA4-F8CFD9D4A287}" dt="2023-04-14T10:38:18.073" v="1334" actId="478"/>
          <ac:picMkLst>
            <pc:docMk/>
            <pc:sldMk cId="2558631534" sldId="2526"/>
            <ac:picMk id="13" creationId="{A44898B2-8D53-8DA8-F479-86ABFCD782C4}"/>
          </ac:picMkLst>
        </pc:picChg>
        <pc:inkChg chg="add del">
          <ac:chgData name="Mauricio Pena" userId="e8c94f7e-bc6e-4c95-ac94-d3ff72f76780" providerId="ADAL" clId="{B0B0C007-45D6-4959-BAA4-F8CFD9D4A287}" dt="2023-04-14T10:35:44.734" v="1322" actId="9405"/>
          <ac:inkMkLst>
            <pc:docMk/>
            <pc:sldMk cId="2558631534" sldId="2526"/>
            <ac:inkMk id="11" creationId="{5BF221ED-CE7F-41C1-32A2-1DC76E03C7A9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40:16.656" v="1346" actId="478"/>
        <pc:sldMkLst>
          <pc:docMk/>
          <pc:sldMk cId="2337050587" sldId="2527"/>
        </pc:sldMkLst>
        <pc:spChg chg="mod">
          <ac:chgData name="Mauricio Pena" userId="e8c94f7e-bc6e-4c95-ac94-d3ff72f76780" providerId="ADAL" clId="{B0B0C007-45D6-4959-BAA4-F8CFD9D4A287}" dt="2023-03-27T08:09:55.077" v="624"/>
          <ac:spMkLst>
            <pc:docMk/>
            <pc:sldMk cId="2337050587" sldId="2527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6:02.052" v="669" actId="1076"/>
          <ac:spMkLst>
            <pc:docMk/>
            <pc:sldMk cId="2337050587" sldId="2527"/>
            <ac:spMk id="7" creationId="{2F273B9E-55A5-0DCC-5724-7238BC743745}"/>
          </ac:spMkLst>
        </pc:spChg>
        <pc:spChg chg="del">
          <ac:chgData name="Mauricio Pena" userId="e8c94f7e-bc6e-4c95-ac94-d3ff72f76780" providerId="ADAL" clId="{B0B0C007-45D6-4959-BAA4-F8CFD9D4A287}" dt="2023-04-14T10:29:52.142" v="1313" actId="478"/>
          <ac:spMkLst>
            <pc:docMk/>
            <pc:sldMk cId="2337050587" sldId="2527"/>
            <ac:spMk id="9" creationId="{2D2070A6-369C-AC61-789B-365B5CF31DAD}"/>
          </ac:spMkLst>
        </pc:spChg>
        <pc:spChg chg="mod">
          <ac:chgData name="Mauricio Pena" userId="e8c94f7e-bc6e-4c95-ac94-d3ff72f76780" providerId="ADAL" clId="{B0B0C007-45D6-4959-BAA4-F8CFD9D4A287}" dt="2023-04-14T10:40:01.413" v="1345" actId="123"/>
          <ac:spMkLst>
            <pc:docMk/>
            <pc:sldMk cId="2337050587" sldId="2527"/>
            <ac:spMk id="9" creationId="{F994BD5C-94F8-9C5C-D955-A87A0556EF2A}"/>
          </ac:spMkLst>
        </pc:spChg>
        <pc:spChg chg="add del mod">
          <ac:chgData name="Mauricio Pena" userId="e8c94f7e-bc6e-4c95-ac94-d3ff72f76780" providerId="ADAL" clId="{B0B0C007-45D6-4959-BAA4-F8CFD9D4A287}" dt="2023-04-14T10:38:26.833" v="1335" actId="478"/>
          <ac:spMkLst>
            <pc:docMk/>
            <pc:sldMk cId="2337050587" sldId="2527"/>
            <ac:spMk id="10" creationId="{99DED6C9-3CB5-1EE3-0A66-BBF34373C064}"/>
          </ac:spMkLst>
        </pc:spChg>
        <pc:spChg chg="add del mod">
          <ac:chgData name="Mauricio Pena" userId="e8c94f7e-bc6e-4c95-ac94-d3ff72f76780" providerId="ADAL" clId="{B0B0C007-45D6-4959-BAA4-F8CFD9D4A287}" dt="2023-04-14T10:40:16.656" v="1346" actId="478"/>
          <ac:spMkLst>
            <pc:docMk/>
            <pc:sldMk cId="2337050587" sldId="2527"/>
            <ac:spMk id="11" creationId="{151E57A5-2608-E23D-AA6F-24E62DEBD853}"/>
          </ac:spMkLst>
        </pc:spChg>
        <pc:spChg chg="add del mod">
          <ac:chgData name="Mauricio Pena" userId="e8c94f7e-bc6e-4c95-ac94-d3ff72f76780" providerId="ADAL" clId="{B0B0C007-45D6-4959-BAA4-F8CFD9D4A287}" dt="2023-04-14T10:39:36.936" v="1342" actId="478"/>
          <ac:spMkLst>
            <pc:docMk/>
            <pc:sldMk cId="2337050587" sldId="2527"/>
            <ac:spMk id="12" creationId="{3C7C742A-385A-3BFF-4F33-946DD35CC744}"/>
          </ac:spMkLst>
        </pc:spChg>
      </pc:sldChg>
      <pc:sldChg chg="addSp delSp modSp new mod ord">
        <pc:chgData name="Mauricio Pena" userId="e8c94f7e-bc6e-4c95-ac94-d3ff72f76780" providerId="ADAL" clId="{B0B0C007-45D6-4959-BAA4-F8CFD9D4A287}" dt="2023-03-28T05:37:52.982" v="1264" actId="113"/>
        <pc:sldMkLst>
          <pc:docMk/>
          <pc:sldMk cId="3350667678" sldId="2528"/>
        </pc:sldMkLst>
        <pc:spChg chg="del mod">
          <ac:chgData name="Mauricio Pena" userId="e8c94f7e-bc6e-4c95-ac94-d3ff72f76780" providerId="ADAL" clId="{B0B0C007-45D6-4959-BAA4-F8CFD9D4A287}" dt="2023-03-27T07:11:38.164" v="49"/>
          <ac:spMkLst>
            <pc:docMk/>
            <pc:sldMk cId="3350667678" sldId="2528"/>
            <ac:spMk id="2" creationId="{590A852A-0B00-077E-6A4E-464F9BF0976E}"/>
          </ac:spMkLst>
        </pc:spChg>
        <pc:spChg chg="mod">
          <ac:chgData name="Mauricio Pena" userId="e8c94f7e-bc6e-4c95-ac94-d3ff72f76780" providerId="ADAL" clId="{B0B0C007-45D6-4959-BAA4-F8CFD9D4A287}" dt="2023-03-27T07:37:48.557" v="466" actId="1076"/>
          <ac:spMkLst>
            <pc:docMk/>
            <pc:sldMk cId="3350667678" sldId="2528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5" creationId="{55E6ED9E-D640-81D1-AA07-B1D3C748A609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6" creationId="{84E721E3-03CA-AB4D-8147-48C44C3F9094}"/>
          </ac:spMkLst>
        </pc:spChg>
        <pc:spChg chg="add mod">
          <ac:chgData name="Mauricio Pena" userId="e8c94f7e-bc6e-4c95-ac94-d3ff72f76780" providerId="ADAL" clId="{B0B0C007-45D6-4959-BAA4-F8CFD9D4A287}" dt="2023-03-28T05:35:33.329" v="1242" actId="1076"/>
          <ac:spMkLst>
            <pc:docMk/>
            <pc:sldMk cId="3350667678" sldId="2528"/>
            <ac:spMk id="7" creationId="{7019796C-7145-51CA-BB17-18E3A40E714F}"/>
          </ac:spMkLst>
        </pc:spChg>
        <pc:spChg chg="add del mod">
          <ac:chgData name="Mauricio Pena" userId="e8c94f7e-bc6e-4c95-ac94-d3ff72f76780" providerId="ADAL" clId="{B0B0C007-45D6-4959-BAA4-F8CFD9D4A287}" dt="2023-03-27T07:13:22.543" v="57" actId="478"/>
          <ac:spMkLst>
            <pc:docMk/>
            <pc:sldMk cId="3350667678" sldId="2528"/>
            <ac:spMk id="7" creationId="{76A096EB-B1B3-0984-368B-2B1C93E2CAA1}"/>
          </ac:spMkLst>
        </pc:spChg>
        <pc:spChg chg="del mod">
          <ac:chgData name="Mauricio Pena" userId="e8c94f7e-bc6e-4c95-ac94-d3ff72f76780" providerId="ADAL" clId="{B0B0C007-45D6-4959-BAA4-F8CFD9D4A287}" dt="2023-03-27T07:14:03.939" v="125" actId="478"/>
          <ac:spMkLst>
            <pc:docMk/>
            <pc:sldMk cId="3350667678" sldId="2528"/>
            <ac:spMk id="15" creationId="{8068080B-A5F3-0F94-A70B-BA175ECE3BF2}"/>
          </ac:spMkLst>
        </pc:spChg>
        <pc:spChg chg="del mod">
          <ac:chgData name="Mauricio Pena" userId="e8c94f7e-bc6e-4c95-ac94-d3ff72f76780" providerId="ADAL" clId="{B0B0C007-45D6-4959-BAA4-F8CFD9D4A287}" dt="2023-03-27T07:14:09.826" v="126" actId="478"/>
          <ac:spMkLst>
            <pc:docMk/>
            <pc:sldMk cId="3350667678" sldId="2528"/>
            <ac:spMk id="16" creationId="{B312909A-4EA3-9AE3-7C68-B1117F29F429}"/>
          </ac:spMkLst>
        </pc:spChg>
        <pc:spChg chg="del mod">
          <ac:chgData name="Mauricio Pena" userId="e8c94f7e-bc6e-4c95-ac94-d3ff72f76780" providerId="ADAL" clId="{B0B0C007-45D6-4959-BAA4-F8CFD9D4A287}" dt="2023-03-27T07:14:02.050" v="124" actId="478"/>
          <ac:spMkLst>
            <pc:docMk/>
            <pc:sldMk cId="3350667678" sldId="2528"/>
            <ac:spMk id="17" creationId="{FFEB42A0-7D37-A6E1-1F0E-FD4515A9B816}"/>
          </ac:spMkLst>
        </pc:spChg>
        <pc:spChg chg="del mod">
          <ac:chgData name="Mauricio Pena" userId="e8c94f7e-bc6e-4c95-ac94-d3ff72f76780" providerId="ADAL" clId="{B0B0C007-45D6-4959-BAA4-F8CFD9D4A287}" dt="2023-03-27T07:14:14.210" v="127" actId="478"/>
          <ac:spMkLst>
            <pc:docMk/>
            <pc:sldMk cId="3350667678" sldId="2528"/>
            <ac:spMk id="18" creationId="{3C91CA96-80FE-782A-422B-DB8823661D27}"/>
          </ac:spMkLst>
        </pc:spChg>
        <pc:spChg chg="del mod">
          <ac:chgData name="Mauricio Pena" userId="e8c94f7e-bc6e-4c95-ac94-d3ff72f76780" providerId="ADAL" clId="{B0B0C007-45D6-4959-BAA4-F8CFD9D4A287}" dt="2023-03-27T07:13:59.746" v="123" actId="478"/>
          <ac:spMkLst>
            <pc:docMk/>
            <pc:sldMk cId="3350667678" sldId="2528"/>
            <ac:spMk id="19" creationId="{FAF53E9F-9893-828D-AAAE-49F657496AC3}"/>
          </ac:spMkLst>
        </pc:spChg>
        <pc:spChg chg="del mod">
          <ac:chgData name="Mauricio Pena" userId="e8c94f7e-bc6e-4c95-ac94-d3ff72f76780" providerId="ADAL" clId="{B0B0C007-45D6-4959-BAA4-F8CFD9D4A287}" dt="2023-03-27T07:14:16.995" v="128" actId="478"/>
          <ac:spMkLst>
            <pc:docMk/>
            <pc:sldMk cId="3350667678" sldId="2528"/>
            <ac:spMk id="20" creationId="{2656B2BF-CAC0-7D07-CDFA-2D7B43403348}"/>
          </ac:spMkLst>
        </pc:spChg>
        <pc:spChg chg="del mod">
          <ac:chgData name="Mauricio Pena" userId="e8c94f7e-bc6e-4c95-ac94-d3ff72f76780" providerId="ADAL" clId="{B0B0C007-45D6-4959-BAA4-F8CFD9D4A287}" dt="2023-03-27T07:13:57.076" v="121" actId="478"/>
          <ac:spMkLst>
            <pc:docMk/>
            <pc:sldMk cId="3350667678" sldId="2528"/>
            <ac:spMk id="21" creationId="{595294D3-875A-9513-E6DB-D8848AFEDAE5}"/>
          </ac:spMkLst>
        </pc:spChg>
        <pc:spChg chg="del mod">
          <ac:chgData name="Mauricio Pena" userId="e8c94f7e-bc6e-4c95-ac94-d3ff72f76780" providerId="ADAL" clId="{B0B0C007-45D6-4959-BAA4-F8CFD9D4A287}" dt="2023-03-27T07:14:19.238" v="129" actId="478"/>
          <ac:spMkLst>
            <pc:docMk/>
            <pc:sldMk cId="3350667678" sldId="2528"/>
            <ac:spMk id="22" creationId="{98FAEED5-650A-C98F-4E0D-C7F7DA398DA7}"/>
          </ac:spMkLst>
        </pc:spChg>
        <pc:spChg chg="del mod">
          <ac:chgData name="Mauricio Pena" userId="e8c94f7e-bc6e-4c95-ac94-d3ff72f76780" providerId="ADAL" clId="{B0B0C007-45D6-4959-BAA4-F8CFD9D4A287}" dt="2023-03-27T07:35:31.902" v="380" actId="478"/>
          <ac:spMkLst>
            <pc:docMk/>
            <pc:sldMk cId="3350667678" sldId="2528"/>
            <ac:spMk id="23" creationId="{34236162-2A49-FAA8-F85D-0EC726E76456}"/>
          </ac:spMkLst>
        </pc:spChg>
        <pc:spChg chg="del mod topLvl">
          <ac:chgData name="Mauricio Pena" userId="e8c94f7e-bc6e-4c95-ac94-d3ff72f76780" providerId="ADAL" clId="{B0B0C007-45D6-4959-BAA4-F8CFD9D4A287}" dt="2023-03-27T07:35:34.270" v="381" actId="478"/>
          <ac:spMkLst>
            <pc:docMk/>
            <pc:sldMk cId="3350667678" sldId="2528"/>
            <ac:spMk id="24" creationId="{AD467341-5924-8DE5-1884-6F8743433E54}"/>
          </ac:spMkLst>
        </pc:spChg>
        <pc:spChg chg="mod">
          <ac:chgData name="Mauricio Pena" userId="e8c94f7e-bc6e-4c95-ac94-d3ff72f76780" providerId="ADAL" clId="{B0B0C007-45D6-4959-BAA4-F8CFD9D4A287}" dt="2023-03-27T07:13:36.450" v="78" actId="20577"/>
          <ac:spMkLst>
            <pc:docMk/>
            <pc:sldMk cId="3350667678" sldId="2528"/>
            <ac:spMk id="25" creationId="{A062EA1F-1652-3350-8E3E-B32E76B6904F}"/>
          </ac:spMkLst>
        </pc:spChg>
        <pc:spChg chg="mod">
          <ac:chgData name="Mauricio Pena" userId="e8c94f7e-bc6e-4c95-ac94-d3ff72f76780" providerId="ADAL" clId="{B0B0C007-45D6-4959-BAA4-F8CFD9D4A287}" dt="2023-03-27T07:12:48.696" v="56"/>
          <ac:spMkLst>
            <pc:docMk/>
            <pc:sldMk cId="3350667678" sldId="2528"/>
            <ac:spMk id="26" creationId="{4E8542FD-7375-44DC-1029-5E8885FDE87D}"/>
          </ac:spMkLst>
        </pc:spChg>
        <pc:spChg chg="add del mod">
          <ac:chgData name="Mauricio Pena" userId="e8c94f7e-bc6e-4c95-ac94-d3ff72f76780" providerId="ADAL" clId="{B0B0C007-45D6-4959-BAA4-F8CFD9D4A287}" dt="2023-03-27T07:33:58.700" v="330" actId="478"/>
          <ac:spMkLst>
            <pc:docMk/>
            <pc:sldMk cId="3350667678" sldId="2528"/>
            <ac:spMk id="27" creationId="{E5F9EE4C-BA03-8748-5A6A-0D14294C6B62}"/>
          </ac:spMkLst>
        </pc:spChg>
        <pc:spChg chg="add mod">
          <ac:chgData name="Mauricio Pena" userId="e8c94f7e-bc6e-4c95-ac94-d3ff72f76780" providerId="ADAL" clId="{B0B0C007-45D6-4959-BAA4-F8CFD9D4A287}" dt="2023-03-28T05:37:52.982" v="1264" actId="113"/>
          <ac:spMkLst>
            <pc:docMk/>
            <pc:sldMk cId="3350667678" sldId="2528"/>
            <ac:spMk id="30" creationId="{D7D58870-CD42-8214-D742-2C13690708D7}"/>
          </ac:spMkLst>
        </pc:spChg>
        <pc:grpChg chg="add mod">
          <ac:chgData name="Mauricio Pena" userId="e8c94f7e-bc6e-4c95-ac94-d3ff72f76780" providerId="ADAL" clId="{B0B0C007-45D6-4959-BAA4-F8CFD9D4A287}" dt="2023-03-28T05:35:08.509" v="1240" actId="1076"/>
          <ac:grpSpMkLst>
            <pc:docMk/>
            <pc:sldMk cId="3350667678" sldId="2528"/>
            <ac:grpSpMk id="2" creationId="{0711241C-01E1-113A-6ADD-2FC7C65F188B}"/>
          </ac:grpSpMkLst>
        </pc:grpChg>
        <pc:grpChg chg="add del mod">
          <ac:chgData name="Mauricio Pena" userId="e8c94f7e-bc6e-4c95-ac94-d3ff72f76780" providerId="ADAL" clId="{B0B0C007-45D6-4959-BAA4-F8CFD9D4A287}" dt="2023-03-27T07:35:34.270" v="381" actId="478"/>
          <ac:grpSpMkLst>
            <pc:docMk/>
            <pc:sldMk cId="3350667678" sldId="2528"/>
            <ac:grpSpMk id="8" creationId="{88FCE57C-72FB-A858-1877-AE2BF715F5B3}"/>
          </ac:grpSpMkLst>
        </pc:grpChg>
        <pc:grpChg chg="mod topLvl">
          <ac:chgData name="Mauricio Pena" userId="e8c94f7e-bc6e-4c95-ac94-d3ff72f76780" providerId="ADAL" clId="{B0B0C007-45D6-4959-BAA4-F8CFD9D4A287}" dt="2023-03-27T07:37:55.475" v="467" actId="1076"/>
          <ac:grpSpMkLst>
            <pc:docMk/>
            <pc:sldMk cId="3350667678" sldId="2528"/>
            <ac:grpSpMk id="9" creationId="{30FAC716-C6EF-33E4-05BB-BF60E2EC8752}"/>
          </ac:grpSpMkLst>
        </pc:grpChg>
        <pc:grpChg chg="del mod">
          <ac:chgData name="Mauricio Pena" userId="e8c94f7e-bc6e-4c95-ac94-d3ff72f76780" providerId="ADAL" clId="{B0B0C007-45D6-4959-BAA4-F8CFD9D4A287}" dt="2023-03-27T07:35:31.902" v="380" actId="478"/>
          <ac:grpSpMkLst>
            <pc:docMk/>
            <pc:sldMk cId="3350667678" sldId="2528"/>
            <ac:grpSpMk id="10" creationId="{77269F0B-8FCB-8FA7-D38F-A2C02785AD55}"/>
          </ac:grpSpMkLst>
        </pc:grpChg>
        <pc:grpChg chg="del mod">
          <ac:chgData name="Mauricio Pena" userId="e8c94f7e-bc6e-4c95-ac94-d3ff72f76780" providerId="ADAL" clId="{B0B0C007-45D6-4959-BAA4-F8CFD9D4A287}" dt="2023-03-27T07:13:57.076" v="121" actId="478"/>
          <ac:grpSpMkLst>
            <pc:docMk/>
            <pc:sldMk cId="3350667678" sldId="2528"/>
            <ac:grpSpMk id="11" creationId="{BF161A47-54D3-4797-C9EC-6F1DE973C2F6}"/>
          </ac:grpSpMkLst>
        </pc:grpChg>
        <pc:grpChg chg="del mod">
          <ac:chgData name="Mauricio Pena" userId="e8c94f7e-bc6e-4c95-ac94-d3ff72f76780" providerId="ADAL" clId="{B0B0C007-45D6-4959-BAA4-F8CFD9D4A287}" dt="2023-03-27T07:13:59.746" v="123" actId="478"/>
          <ac:grpSpMkLst>
            <pc:docMk/>
            <pc:sldMk cId="3350667678" sldId="2528"/>
            <ac:grpSpMk id="12" creationId="{D660F787-5A3E-90BE-99D3-AA72185D5D16}"/>
          </ac:grpSpMkLst>
        </pc:grpChg>
        <pc:grpChg chg="del mod">
          <ac:chgData name="Mauricio Pena" userId="e8c94f7e-bc6e-4c95-ac94-d3ff72f76780" providerId="ADAL" clId="{B0B0C007-45D6-4959-BAA4-F8CFD9D4A287}" dt="2023-03-27T07:14:02.050" v="124" actId="478"/>
          <ac:grpSpMkLst>
            <pc:docMk/>
            <pc:sldMk cId="3350667678" sldId="2528"/>
            <ac:grpSpMk id="13" creationId="{68442A27-2316-9C60-F072-0FACB98EF81E}"/>
          </ac:grpSpMkLst>
        </pc:grpChg>
        <pc:grpChg chg="del mod">
          <ac:chgData name="Mauricio Pena" userId="e8c94f7e-bc6e-4c95-ac94-d3ff72f76780" providerId="ADAL" clId="{B0B0C007-45D6-4959-BAA4-F8CFD9D4A287}" dt="2023-03-27T07:14:03.939" v="125" actId="478"/>
          <ac:grpSpMkLst>
            <pc:docMk/>
            <pc:sldMk cId="3350667678" sldId="2528"/>
            <ac:grpSpMk id="14" creationId="{05A6D6D5-5549-8156-B30B-081FDDA672C0}"/>
          </ac:grpSpMkLst>
        </pc:grpChg>
        <pc:graphicFrameChg chg="add del mod modGraphic">
          <ac:chgData name="Mauricio Pena" userId="e8c94f7e-bc6e-4c95-ac94-d3ff72f76780" providerId="ADAL" clId="{B0B0C007-45D6-4959-BAA4-F8CFD9D4A287}" dt="2023-03-27T07:21:28.301" v="256" actId="27309"/>
          <ac:graphicFrameMkLst>
            <pc:docMk/>
            <pc:sldMk cId="3350667678" sldId="2528"/>
            <ac:graphicFrameMk id="29" creationId="{EFCE5C61-7FEF-3096-9A41-FFFF2DFE3D72}"/>
          </ac:graphicFrameMkLst>
        </pc:graphicFrameChg>
        <pc:picChg chg="add del mod">
          <ac:chgData name="Mauricio Pena" userId="e8c94f7e-bc6e-4c95-ac94-d3ff72f76780" providerId="ADAL" clId="{B0B0C007-45D6-4959-BAA4-F8CFD9D4A287}" dt="2023-03-27T07:12:04.383" v="55" actId="478"/>
          <ac:picMkLst>
            <pc:docMk/>
            <pc:sldMk cId="3350667678" sldId="2528"/>
            <ac:picMk id="5" creationId="{CD08DEFB-6801-2C55-7874-C671FCE68AD9}"/>
          </ac:picMkLst>
        </pc:picChg>
        <pc:picChg chg="add del mod">
          <ac:chgData name="Mauricio Pena" userId="e8c94f7e-bc6e-4c95-ac94-d3ff72f76780" providerId="ADAL" clId="{B0B0C007-45D6-4959-BAA4-F8CFD9D4A287}" dt="2023-03-27T07:12:03.504" v="54" actId="478"/>
          <ac:picMkLst>
            <pc:docMk/>
            <pc:sldMk cId="3350667678" sldId="2528"/>
            <ac:picMk id="6" creationId="{9DA37D68-EDA8-27CA-FD98-9C6207E9C582}"/>
          </ac:picMkLst>
        </pc:picChg>
      </pc:sldChg>
      <pc:sldChg chg="new del">
        <pc:chgData name="Mauricio Pena" userId="e8c94f7e-bc6e-4c95-ac94-d3ff72f76780" providerId="ADAL" clId="{B0B0C007-45D6-4959-BAA4-F8CFD9D4A287}" dt="2023-03-27T07:05:14.232" v="6" actId="2696"/>
        <pc:sldMkLst>
          <pc:docMk/>
          <pc:sldMk cId="3572376677" sldId="2528"/>
        </pc:sldMkLst>
      </pc:sldChg>
      <pc:sldChg chg="new del">
        <pc:chgData name="Mauricio Pena" userId="e8c94f7e-bc6e-4c95-ac94-d3ff72f76780" providerId="ADAL" clId="{B0B0C007-45D6-4959-BAA4-F8CFD9D4A287}" dt="2023-03-27T07:04:36.275" v="4" actId="2696"/>
        <pc:sldMkLst>
          <pc:docMk/>
          <pc:sldMk cId="4207907230" sldId="2528"/>
        </pc:sldMkLst>
      </pc:sldChg>
      <pc:sldChg chg="addSp delSp modSp add del mod">
        <pc:chgData name="Mauricio Pena" userId="e8c94f7e-bc6e-4c95-ac94-d3ff72f76780" providerId="ADAL" clId="{B0B0C007-45D6-4959-BAA4-F8CFD9D4A287}" dt="2023-03-28T05:35:45.267" v="1243" actId="2696"/>
        <pc:sldMkLst>
          <pc:docMk/>
          <pc:sldMk cId="2320169938" sldId="2529"/>
        </pc:sldMkLst>
        <pc:spChg chg="add mod">
          <ac:chgData name="Mauricio Pena" userId="e8c94f7e-bc6e-4c95-ac94-d3ff72f76780" providerId="ADAL" clId="{B0B0C007-45D6-4959-BAA4-F8CFD9D4A287}" dt="2023-03-27T08:04:47.771" v="618" actId="113"/>
          <ac:spMkLst>
            <pc:docMk/>
            <pc:sldMk cId="2320169938" sldId="2529"/>
            <ac:spMk id="2" creationId="{7C3569D6-5BDE-E114-E4B4-1A9F8AD92EB5}"/>
          </ac:spMkLst>
        </pc:spChg>
        <pc:spChg chg="mod">
          <ac:chgData name="Mauricio Pena" userId="e8c94f7e-bc6e-4c95-ac94-d3ff72f76780" providerId="ADAL" clId="{B0B0C007-45D6-4959-BAA4-F8CFD9D4A287}" dt="2023-03-27T07:37:10.723" v="462" actId="1076"/>
          <ac:spMkLst>
            <pc:docMk/>
            <pc:sldMk cId="2320169938" sldId="2529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7T07:36:30.311" v="446" actId="1076"/>
          <ac:spMkLst>
            <pc:docMk/>
            <pc:sldMk cId="2320169938" sldId="2529"/>
            <ac:spMk id="23" creationId="{34236162-2A49-FAA8-F85D-0EC726E76456}"/>
          </ac:spMkLst>
        </pc:spChg>
        <pc:spChg chg="mod">
          <ac:chgData name="Mauricio Pena" userId="e8c94f7e-bc6e-4c95-ac94-d3ff72f76780" providerId="ADAL" clId="{B0B0C007-45D6-4959-BAA4-F8CFD9D4A287}" dt="2023-03-27T07:36:35.767" v="447" actId="1076"/>
          <ac:spMkLst>
            <pc:docMk/>
            <pc:sldMk cId="2320169938" sldId="2529"/>
            <ac:spMk id="24" creationId="{AD467341-5924-8DE5-1884-6F8743433E54}"/>
          </ac:spMkLst>
        </pc:spChg>
        <pc:spChg chg="del topLvl">
          <ac:chgData name="Mauricio Pena" userId="e8c94f7e-bc6e-4c95-ac94-d3ff72f76780" providerId="ADAL" clId="{B0B0C007-45D6-4959-BAA4-F8CFD9D4A287}" dt="2023-03-27T07:58:50.162" v="573" actId="478"/>
          <ac:spMkLst>
            <pc:docMk/>
            <pc:sldMk cId="2320169938" sldId="2529"/>
            <ac:spMk id="25" creationId="{A062EA1F-1652-3350-8E3E-B32E76B6904F}"/>
          </ac:spMkLst>
        </pc:spChg>
        <pc:spChg chg="del">
          <ac:chgData name="Mauricio Pena" userId="e8c94f7e-bc6e-4c95-ac94-d3ff72f76780" providerId="ADAL" clId="{B0B0C007-45D6-4959-BAA4-F8CFD9D4A287}" dt="2023-03-27T07:58:48.403" v="572" actId="478"/>
          <ac:spMkLst>
            <pc:docMk/>
            <pc:sldMk cId="2320169938" sldId="2529"/>
            <ac:spMk id="26" creationId="{4E8542FD-7375-44DC-1029-5E8885FDE87D}"/>
          </ac:spMkLst>
        </pc:spChg>
        <pc:spChg chg="del mod">
          <ac:chgData name="Mauricio Pena" userId="e8c94f7e-bc6e-4c95-ac94-d3ff72f76780" providerId="ADAL" clId="{B0B0C007-45D6-4959-BAA4-F8CFD9D4A287}" dt="2023-03-27T07:58:51.873" v="574" actId="478"/>
          <ac:spMkLst>
            <pc:docMk/>
            <pc:sldMk cId="2320169938" sldId="2529"/>
            <ac:spMk id="30" creationId="{D7D58870-CD42-8214-D742-2C13690708D7}"/>
          </ac:spMkLst>
        </pc:spChg>
        <pc:grpChg chg="del mod">
          <ac:chgData name="Mauricio Pena" userId="e8c94f7e-bc6e-4c95-ac94-d3ff72f76780" providerId="ADAL" clId="{B0B0C007-45D6-4959-BAA4-F8CFD9D4A287}" dt="2023-03-27T07:58:50.162" v="573" actId="478"/>
          <ac:grpSpMkLst>
            <pc:docMk/>
            <pc:sldMk cId="2320169938" sldId="2529"/>
            <ac:grpSpMk id="8" creationId="{88FCE57C-72FB-A858-1877-AE2BF715F5B3}"/>
          </ac:grpSpMkLst>
        </pc:grpChg>
        <pc:grpChg chg="del">
          <ac:chgData name="Mauricio Pena" userId="e8c94f7e-bc6e-4c95-ac94-d3ff72f76780" providerId="ADAL" clId="{B0B0C007-45D6-4959-BAA4-F8CFD9D4A287}" dt="2023-03-27T07:58:48.403" v="572" actId="478"/>
          <ac:grpSpMkLst>
            <pc:docMk/>
            <pc:sldMk cId="2320169938" sldId="2529"/>
            <ac:grpSpMk id="9" creationId="{30FAC716-C6EF-33E4-05BB-BF60E2EC8752}"/>
          </ac:grpSpMkLst>
        </pc:grpChg>
        <pc:grpChg chg="mod topLvl">
          <ac:chgData name="Mauricio Pena" userId="e8c94f7e-bc6e-4c95-ac94-d3ff72f76780" providerId="ADAL" clId="{B0B0C007-45D6-4959-BAA4-F8CFD9D4A287}" dt="2023-03-27T07:59:04.764" v="575" actId="1076"/>
          <ac:grpSpMkLst>
            <pc:docMk/>
            <pc:sldMk cId="2320169938" sldId="2529"/>
            <ac:grpSpMk id="10" creationId="{77269F0B-8FCB-8FA7-D38F-A2C02785AD55}"/>
          </ac:grpSpMkLst>
        </pc:grpChg>
      </pc:sldChg>
      <pc:sldMasterChg chg="modSldLayout">
        <pc:chgData name="Mauricio Pena" userId="e8c94f7e-bc6e-4c95-ac94-d3ff72f76780" providerId="ADAL" clId="{B0B0C007-45D6-4959-BAA4-F8CFD9D4A287}" dt="2023-04-14T10:13:44.902" v="1273"/>
        <pc:sldMasterMkLst>
          <pc:docMk/>
          <pc:sldMasterMk cId="0" sldId="2147483804"/>
        </pc:sldMasterMkLst>
        <pc:sldLayoutChg chg="addSp delSp modSp">
          <pc:chgData name="Mauricio Pena" userId="e8c94f7e-bc6e-4c95-ac94-d3ff72f76780" providerId="ADAL" clId="{B0B0C007-45D6-4959-BAA4-F8CFD9D4A287}" dt="2023-04-14T10:13:44.902" v="1273"/>
          <pc:sldLayoutMkLst>
            <pc:docMk/>
            <pc:sldMasterMk cId="0" sldId="2147483804"/>
            <pc:sldLayoutMk cId="394290957" sldId="2147484021"/>
          </pc:sldLayoutMkLst>
          <pc:spChg chg="del">
            <ac:chgData name="Mauricio Pena" userId="e8c94f7e-bc6e-4c95-ac94-d3ff72f76780" providerId="ADAL" clId="{B0B0C007-45D6-4959-BAA4-F8CFD9D4A287}" dt="2023-04-14T10:09:56.386" v="1267"/>
            <ac:spMkLst>
              <pc:docMk/>
              <pc:sldMasterMk cId="0" sldId="2147483804"/>
              <pc:sldLayoutMk cId="394290957" sldId="2147484021"/>
              <ac:spMk id="2" creationId="{00000000-0000-0000-0000-000000000000}"/>
            </ac:spMkLst>
          </pc:spChg>
          <pc:spChg chg="add del mod">
            <ac:chgData name="Mauricio Pena" userId="e8c94f7e-bc6e-4c95-ac94-d3ff72f76780" providerId="ADAL" clId="{B0B0C007-45D6-4959-BAA4-F8CFD9D4A287}" dt="2023-04-14T10:09:59.702" v="1269"/>
            <ac:spMkLst>
              <pc:docMk/>
              <pc:sldMasterMk cId="0" sldId="2147483804"/>
              <pc:sldLayoutMk cId="394290957" sldId="2147484021"/>
              <ac:spMk id="3" creationId="{B72E9722-66B2-619C-77C5-53D58E7730B6}"/>
            </ac:spMkLst>
          </pc:spChg>
          <pc:spChg chg="add del mod">
            <ac:chgData name="Mauricio Pena" userId="e8c94f7e-bc6e-4c95-ac94-d3ff72f76780" providerId="ADAL" clId="{B0B0C007-45D6-4959-BAA4-F8CFD9D4A287}" dt="2023-04-14T10:13:43.877" v="1272"/>
            <ac:spMkLst>
              <pc:docMk/>
              <pc:sldMasterMk cId="0" sldId="2147483804"/>
              <pc:sldLayoutMk cId="394290957" sldId="2147484021"/>
              <ac:spMk id="5" creationId="{BB596FDE-AC32-0D35-A4AF-00C9C1DF4B8F}"/>
            </ac:spMkLst>
          </pc:spChg>
          <pc:spChg chg="add mod">
            <ac:chgData name="Mauricio Pena" userId="e8c94f7e-bc6e-4c95-ac94-d3ff72f76780" providerId="ADAL" clId="{B0B0C007-45D6-4959-BAA4-F8CFD9D4A287}" dt="2023-04-14T10:13:40.599" v="1271"/>
            <ac:spMkLst>
              <pc:docMk/>
              <pc:sldMasterMk cId="0" sldId="2147483804"/>
              <pc:sldLayoutMk cId="394290957" sldId="2147484021"/>
              <ac:spMk id="7" creationId="{5C9B2F54-7B5E-309F-F6A6-17BB441280F6}"/>
            </ac:spMkLst>
          </pc:spChg>
          <pc:spChg chg="add mod">
            <ac:chgData name="Mauricio Pena" userId="e8c94f7e-bc6e-4c95-ac94-d3ff72f76780" providerId="ADAL" clId="{B0B0C007-45D6-4959-BAA4-F8CFD9D4A287}" dt="2023-04-14T10:13:44.902" v="1273"/>
            <ac:spMkLst>
              <pc:docMk/>
              <pc:sldMasterMk cId="0" sldId="2147483804"/>
              <pc:sldLayoutMk cId="394290957" sldId="2147484021"/>
              <ac:spMk id="8" creationId="{5F56939B-100C-7693-6068-68FBFF18FB68}"/>
            </ac:spMkLst>
          </pc:spChg>
        </pc:sldLayoutChg>
      </pc:sldMasterChg>
    </pc:docChg>
  </pc:docChgLst>
  <pc:docChgLst>
    <pc:chgData name="Suleiman Mesto" userId="S::mesto.suleiman@es.sika.com::b079e64d-10fa-49c0-aa6b-01f372729768" providerId="AD" clId="Web-{2E198718-A887-44C9-887F-EE5FFF307D3A}"/>
    <pc:docChg chg="modSld">
      <pc:chgData name="Suleiman Mesto" userId="S::mesto.suleiman@es.sika.com::b079e64d-10fa-49c0-aa6b-01f372729768" providerId="AD" clId="Web-{2E198718-A887-44C9-887F-EE5FFF307D3A}" dt="2023-03-27T06:29:20.434" v="36" actId="20577"/>
      <pc:docMkLst>
        <pc:docMk/>
      </pc:docMkLst>
      <pc:sldChg chg="addSp delSp modSp">
        <pc:chgData name="Suleiman Mesto" userId="S::mesto.suleiman@es.sika.com::b079e64d-10fa-49c0-aa6b-01f372729768" providerId="AD" clId="Web-{2E198718-A887-44C9-887F-EE5FFF307D3A}" dt="2023-03-27T06:27:55.978" v="22"/>
        <pc:sldMkLst>
          <pc:docMk/>
          <pc:sldMk cId="0" sldId="283"/>
        </pc:sldMkLst>
        <pc:spChg chg="mod">
          <ac:chgData name="Suleiman Mesto" userId="S::mesto.suleiman@es.sika.com::b079e64d-10fa-49c0-aa6b-01f372729768" providerId="AD" clId="Web-{2E198718-A887-44C9-887F-EE5FFF307D3A}" dt="2023-03-27T06:12:07.899" v="7" actId="20577"/>
          <ac:spMkLst>
            <pc:docMk/>
            <pc:sldMk cId="0" sldId="283"/>
            <ac:spMk id="3" creationId="{18565701-498B-4BA6-9AF2-C14C63DAE209}"/>
          </ac:spMkLst>
        </pc:spChg>
        <pc:spChg chg="add mod">
          <ac:chgData name="Suleiman Mesto" userId="S::mesto.suleiman@es.sika.com::b079e64d-10fa-49c0-aa6b-01f372729768" providerId="AD" clId="Web-{2E198718-A887-44C9-887F-EE5FFF307D3A}" dt="2023-03-27T06:27:55.978" v="22"/>
          <ac:spMkLst>
            <pc:docMk/>
            <pc:sldMk cId="0" sldId="283"/>
            <ac:spMk id="9" creationId="{7D9D145E-B543-77B7-AACB-76D3B5B77392}"/>
          </ac:spMkLst>
        </pc:spChg>
        <pc:picChg chg="add del mod">
          <ac:chgData name="Suleiman Mesto" userId="S::mesto.suleiman@es.sika.com::b079e64d-10fa-49c0-aa6b-01f372729768" providerId="AD" clId="Web-{2E198718-A887-44C9-887F-EE5FFF307D3A}" dt="2023-03-27T06:12:30.478" v="10"/>
          <ac:picMkLst>
            <pc:docMk/>
            <pc:sldMk cId="0" sldId="283"/>
            <ac:picMk id="5" creationId="{C2CE7DAA-5FE5-39B4-985B-F722597984DC}"/>
          </ac:picMkLst>
        </pc:picChg>
        <pc:picChg chg="add mod ord modCrop">
          <ac:chgData name="Suleiman Mesto" userId="S::mesto.suleiman@es.sika.com::b079e64d-10fa-49c0-aa6b-01f372729768" providerId="AD" clId="Web-{2E198718-A887-44C9-887F-EE5FFF307D3A}" dt="2023-03-27T06:27:54.368" v="21"/>
          <ac:picMkLst>
            <pc:docMk/>
            <pc:sldMk cId="0" sldId="283"/>
            <ac:picMk id="6" creationId="{A5CC6D39-1ECB-F645-1AFE-2F0C03041A97}"/>
          </ac:picMkLst>
        </pc:picChg>
        <pc:picChg chg="del">
          <ac:chgData name="Suleiman Mesto" userId="S::mesto.suleiman@es.sika.com::b079e64d-10fa-49c0-aa6b-01f372729768" providerId="AD" clId="Web-{2E198718-A887-44C9-887F-EE5FFF307D3A}" dt="2023-03-27T06:27:55.978" v="22"/>
          <ac:picMkLst>
            <pc:docMk/>
            <pc:sldMk cId="0" sldId="283"/>
            <ac:picMk id="17412" creationId="{88669900-EA06-4698-B1E9-D5AC5E4AFAE5}"/>
          </ac:picMkLst>
        </pc:picChg>
      </pc:sldChg>
      <pc:sldChg chg="mod modShow">
        <pc:chgData name="Suleiman Mesto" userId="S::mesto.suleiman@es.sika.com::b079e64d-10fa-49c0-aa6b-01f372729768" providerId="AD" clId="Web-{2E198718-A887-44C9-887F-EE5FFF307D3A}" dt="2023-03-27T06:28:24.057" v="23"/>
        <pc:sldMkLst>
          <pc:docMk/>
          <pc:sldMk cId="0" sldId="2416"/>
        </pc:sldMkLst>
      </pc:sldChg>
      <pc:sldChg chg="modSp">
        <pc:chgData name="Suleiman Mesto" userId="S::mesto.suleiman@es.sika.com::b079e64d-10fa-49c0-aa6b-01f372729768" providerId="AD" clId="Web-{2E198718-A887-44C9-887F-EE5FFF307D3A}" dt="2023-03-27T06:29:20.434" v="36" actId="20577"/>
        <pc:sldMkLst>
          <pc:docMk/>
          <pc:sldMk cId="2681821491" sldId="2449"/>
        </pc:sldMkLst>
        <pc:spChg chg="mod">
          <ac:chgData name="Suleiman Mesto" userId="S::mesto.suleiman@es.sika.com::b079e64d-10fa-49c0-aa6b-01f372729768" providerId="AD" clId="Web-{2E198718-A887-44C9-887F-EE5FFF307D3A}" dt="2023-03-27T06:28:51.620" v="33" actId="20577"/>
          <ac:spMkLst>
            <pc:docMk/>
            <pc:sldMk cId="2681821491" sldId="2449"/>
            <ac:spMk id="4" creationId="{B7DA9801-0835-4143-95FD-E14093FEC971}"/>
          </ac:spMkLst>
        </pc:spChg>
        <pc:spChg chg="mod">
          <ac:chgData name="Suleiman Mesto" userId="S::mesto.suleiman@es.sika.com::b079e64d-10fa-49c0-aa6b-01f372729768" providerId="AD" clId="Web-{2E198718-A887-44C9-887F-EE5FFF307D3A}" dt="2023-03-27T06:29:20.434" v="36" actId="20577"/>
          <ac:spMkLst>
            <pc:docMk/>
            <pc:sldMk cId="2681821491" sldId="2449"/>
            <ac:spMk id="59" creationId="{CBF42CAE-8FD1-403C-A71F-CA56A9EE0447}"/>
          </ac:spMkLst>
        </pc:spChg>
      </pc:sldChg>
    </pc:docChg>
  </pc:docChgLst>
  <pc:docChgLst>
    <pc:chgData name="Suleiman Mesto" userId="b079e64d-10fa-49c0-aa6b-01f372729768" providerId="ADAL" clId="{3121A606-74DC-4800-9065-FF97673C00C0}"/>
    <pc:docChg chg="modSld">
      <pc:chgData name="Suleiman Mesto" userId="b079e64d-10fa-49c0-aa6b-01f372729768" providerId="ADAL" clId="{3121A606-74DC-4800-9065-FF97673C00C0}" dt="2023-03-27T06:04:13.512" v="0" actId="20577"/>
      <pc:docMkLst>
        <pc:docMk/>
      </pc:docMkLst>
      <pc:sldChg chg="modSp mod">
        <pc:chgData name="Suleiman Mesto" userId="b079e64d-10fa-49c0-aa6b-01f372729768" providerId="ADAL" clId="{3121A606-74DC-4800-9065-FF97673C00C0}" dt="2023-03-27T06:04:13.512" v="0" actId="20577"/>
        <pc:sldMkLst>
          <pc:docMk/>
          <pc:sldMk cId="0" sldId="283"/>
        </pc:sldMkLst>
        <pc:spChg chg="mod">
          <ac:chgData name="Suleiman Mesto" userId="b079e64d-10fa-49c0-aa6b-01f372729768" providerId="ADAL" clId="{3121A606-74DC-4800-9065-FF97673C00C0}" dt="2023-03-27T06:04:13.512" v="0" actId="20577"/>
          <ac:spMkLst>
            <pc:docMk/>
            <pc:sldMk cId="0" sldId="283"/>
            <ac:spMk id="3" creationId="{18565701-498B-4BA6-9AF2-C14C63DAE209}"/>
          </ac:spMkLst>
        </pc:spChg>
      </pc:sldChg>
    </pc:docChg>
  </pc:docChgLst>
  <pc:docChgLst>
    <pc:chgData name="Mauricio Pena" userId="e8c94f7e-bc6e-4c95-ac94-d3ff72f76780" providerId="ADAL" clId="{204B67DF-D4CC-4CCA-8628-1A20B9DC31F2}"/>
    <pc:docChg chg="undo custSel addSld delSld modSld">
      <pc:chgData name="Mauricio Pena" userId="e8c94f7e-bc6e-4c95-ac94-d3ff72f76780" providerId="ADAL" clId="{204B67DF-D4CC-4CCA-8628-1A20B9DC31F2}" dt="2024-02-05T07:37:16.216" v="793" actId="29295"/>
      <pc:docMkLst>
        <pc:docMk/>
      </pc:docMkLst>
      <pc:sldChg chg="addSp modSp mod">
        <pc:chgData name="Mauricio Pena" userId="e8c94f7e-bc6e-4c95-ac94-d3ff72f76780" providerId="ADAL" clId="{204B67DF-D4CC-4CCA-8628-1A20B9DC31F2}" dt="2024-02-05T07:37:16.216" v="793" actId="29295"/>
        <pc:sldMkLst>
          <pc:docMk/>
          <pc:sldMk cId="0" sldId="283"/>
        </pc:sldMkLst>
        <pc:spChg chg="mod">
          <ac:chgData name="Mauricio Pena" userId="e8c94f7e-bc6e-4c95-ac94-d3ff72f76780" providerId="ADAL" clId="{204B67DF-D4CC-4CCA-8628-1A20B9DC31F2}" dt="2024-02-01T08:58:09.198" v="783" actId="20577"/>
          <ac:spMkLst>
            <pc:docMk/>
            <pc:sldMk cId="0" sldId="283"/>
            <ac:spMk id="2" creationId="{72F36DA5-2921-8668-88B4-7B2CEBE3E63F}"/>
          </ac:spMkLst>
        </pc:spChg>
        <pc:spChg chg="mod">
          <ac:chgData name="Mauricio Pena" userId="e8c94f7e-bc6e-4c95-ac94-d3ff72f76780" providerId="ADAL" clId="{204B67DF-D4CC-4CCA-8628-1A20B9DC31F2}" dt="2024-02-01T08:57:54.253" v="763" actId="20577"/>
          <ac:spMkLst>
            <pc:docMk/>
            <pc:sldMk cId="0" sldId="283"/>
            <ac:spMk id="3" creationId="{18565701-498B-4BA6-9AF2-C14C63DAE209}"/>
          </ac:spMkLst>
        </pc:spChg>
        <pc:picChg chg="add mod">
          <ac:chgData name="Mauricio Pena" userId="e8c94f7e-bc6e-4c95-ac94-d3ff72f76780" providerId="ADAL" clId="{204B67DF-D4CC-4CCA-8628-1A20B9DC31F2}" dt="2024-02-05T07:37:16.216" v="793" actId="29295"/>
          <ac:picMkLst>
            <pc:docMk/>
            <pc:sldMk cId="0" sldId="283"/>
            <ac:picMk id="5" creationId="{7AB10B69-0BF6-4CD0-21B3-3C4B36822BDD}"/>
          </ac:picMkLst>
        </pc:picChg>
        <pc:picChg chg="mod">
          <ac:chgData name="Mauricio Pena" userId="e8c94f7e-bc6e-4c95-ac94-d3ff72f76780" providerId="ADAL" clId="{204B67DF-D4CC-4CCA-8628-1A20B9DC31F2}" dt="2024-02-01T08:57:44.290" v="750" actId="29295"/>
          <ac:picMkLst>
            <pc:docMk/>
            <pc:sldMk cId="0" sldId="283"/>
            <ac:picMk id="6" creationId="{A5CC6D39-1ECB-F645-1AFE-2F0C03041A97}"/>
          </ac:picMkLst>
        </pc:picChg>
      </pc:sldChg>
      <pc:sldChg chg="del">
        <pc:chgData name="Mauricio Pena" userId="e8c94f7e-bc6e-4c95-ac94-d3ff72f76780" providerId="ADAL" clId="{204B67DF-D4CC-4CCA-8628-1A20B9DC31F2}" dt="2024-01-31T12:15:33.542" v="0" actId="2696"/>
        <pc:sldMkLst>
          <pc:docMk/>
          <pc:sldMk cId="0" sldId="2416"/>
        </pc:sldMkLst>
      </pc:sldChg>
      <pc:sldChg chg="addSp delSp modSp mod">
        <pc:chgData name="Mauricio Pena" userId="e8c94f7e-bc6e-4c95-ac94-d3ff72f76780" providerId="ADAL" clId="{204B67DF-D4CC-4CCA-8628-1A20B9DC31F2}" dt="2024-01-31T15:49:20.586" v="567" actId="478"/>
        <pc:sldMkLst>
          <pc:docMk/>
          <pc:sldMk cId="2681821491" sldId="2449"/>
        </pc:sldMkLst>
        <pc:spChg chg="mod">
          <ac:chgData name="Mauricio Pena" userId="e8c94f7e-bc6e-4c95-ac94-d3ff72f76780" providerId="ADAL" clId="{204B67DF-D4CC-4CCA-8628-1A20B9DC31F2}" dt="2024-01-31T14:48:21.272" v="366" actId="404"/>
          <ac:spMkLst>
            <pc:docMk/>
            <pc:sldMk cId="2681821491" sldId="2449"/>
            <ac:spMk id="4" creationId="{B7DA9801-0835-4143-95FD-E14093FEC971}"/>
          </ac:spMkLst>
        </pc:spChg>
        <pc:spChg chg="mod">
          <ac:chgData name="Mauricio Pena" userId="e8c94f7e-bc6e-4c95-ac94-d3ff72f76780" providerId="ADAL" clId="{204B67DF-D4CC-4CCA-8628-1A20B9DC31F2}" dt="2024-01-31T14:47:07.276" v="337" actId="14100"/>
          <ac:spMkLst>
            <pc:docMk/>
            <pc:sldMk cId="2681821491" sldId="2449"/>
            <ac:spMk id="5" creationId="{444E32C3-FFC6-41E3-A361-663774D7500E}"/>
          </ac:spMkLst>
        </pc:spChg>
        <pc:spChg chg="mod">
          <ac:chgData name="Mauricio Pena" userId="e8c94f7e-bc6e-4c95-ac94-d3ff72f76780" providerId="ADAL" clId="{204B67DF-D4CC-4CCA-8628-1A20B9DC31F2}" dt="2024-01-31T14:46:14.982" v="315" actId="20577"/>
          <ac:spMkLst>
            <pc:docMk/>
            <pc:sldMk cId="2681821491" sldId="2449"/>
            <ac:spMk id="67" creationId="{46D81B90-49B1-4C90-A06B-94DEFC5BE405}"/>
          </ac:spMkLst>
        </pc:spChg>
        <pc:grpChg chg="del">
          <ac:chgData name="Mauricio Pena" userId="e8c94f7e-bc6e-4c95-ac94-d3ff72f76780" providerId="ADAL" clId="{204B67DF-D4CC-4CCA-8628-1A20B9DC31F2}" dt="2024-01-31T15:49:12.868" v="565" actId="165"/>
          <ac:grpSpMkLst>
            <pc:docMk/>
            <pc:sldMk cId="2681821491" sldId="2449"/>
            <ac:grpSpMk id="20" creationId="{5209C51A-F803-B8C5-3E76-AB48E173FDA4}"/>
          </ac:grpSpMkLst>
        </pc:grpChg>
        <pc:picChg chg="add mod">
          <ac:chgData name="Mauricio Pena" userId="e8c94f7e-bc6e-4c95-ac94-d3ff72f76780" providerId="ADAL" clId="{204B67DF-D4CC-4CCA-8628-1A20B9DC31F2}" dt="2024-01-31T15:14:25.786" v="444" actId="14826"/>
          <ac:picMkLst>
            <pc:docMk/>
            <pc:sldMk cId="2681821491" sldId="2449"/>
            <ac:picMk id="8" creationId="{E1BC2873-3D93-15AE-0C81-00E21352C7AA}"/>
          </ac:picMkLst>
        </pc:picChg>
        <pc:picChg chg="add mod">
          <ac:chgData name="Mauricio Pena" userId="e8c94f7e-bc6e-4c95-ac94-d3ff72f76780" providerId="ADAL" clId="{204B67DF-D4CC-4CCA-8628-1A20B9DC31F2}" dt="2024-01-31T15:14:57.584" v="447" actId="14826"/>
          <ac:picMkLst>
            <pc:docMk/>
            <pc:sldMk cId="2681821491" sldId="2449"/>
            <ac:picMk id="9" creationId="{92C0BFA1-1E04-0911-468F-A1792FED0F51}"/>
          </ac:picMkLst>
        </pc:picChg>
        <pc:picChg chg="del">
          <ac:chgData name="Mauricio Pena" userId="e8c94f7e-bc6e-4c95-ac94-d3ff72f76780" providerId="ADAL" clId="{204B67DF-D4CC-4CCA-8628-1A20B9DC31F2}" dt="2024-01-31T15:13:56.531" v="440" actId="478"/>
          <ac:picMkLst>
            <pc:docMk/>
            <pc:sldMk cId="2681821491" sldId="2449"/>
            <ac:picMk id="106" creationId="{0E29B963-F830-446A-B2C0-681D351380EE}"/>
          </ac:picMkLst>
        </pc:picChg>
        <pc:picChg chg="del">
          <ac:chgData name="Mauricio Pena" userId="e8c94f7e-bc6e-4c95-ac94-d3ff72f76780" providerId="ADAL" clId="{204B67DF-D4CC-4CCA-8628-1A20B9DC31F2}" dt="2024-01-31T15:13:57.561" v="441" actId="478"/>
          <ac:picMkLst>
            <pc:docMk/>
            <pc:sldMk cId="2681821491" sldId="2449"/>
            <ac:picMk id="108" creationId="{6F5BE68D-4A64-416A-BC4A-77425D374F3D}"/>
          </ac:picMkLst>
        </pc:picChg>
        <pc:cxnChg chg="del mod topLvl">
          <ac:chgData name="Mauricio Pena" userId="e8c94f7e-bc6e-4c95-ac94-d3ff72f76780" providerId="ADAL" clId="{204B67DF-D4CC-4CCA-8628-1A20B9DC31F2}" dt="2024-01-31T15:49:18.993" v="566" actId="478"/>
          <ac:cxnSpMkLst>
            <pc:docMk/>
            <pc:sldMk cId="2681821491" sldId="2449"/>
            <ac:cxnSpMk id="21" creationId="{E5C6A522-00AB-FB11-3F6C-AEE1BCD5AF04}"/>
          </ac:cxnSpMkLst>
        </pc:cxnChg>
        <pc:cxnChg chg="mod topLvl">
          <ac:chgData name="Mauricio Pena" userId="e8c94f7e-bc6e-4c95-ac94-d3ff72f76780" providerId="ADAL" clId="{204B67DF-D4CC-4CCA-8628-1A20B9DC31F2}" dt="2024-01-31T15:49:12.868" v="565" actId="165"/>
          <ac:cxnSpMkLst>
            <pc:docMk/>
            <pc:sldMk cId="2681821491" sldId="2449"/>
            <ac:cxnSpMk id="22" creationId="{A36CDA6B-51D0-3F54-0598-F8744A936AA8}"/>
          </ac:cxnSpMkLst>
        </pc:cxnChg>
        <pc:cxnChg chg="del mod topLvl">
          <ac:chgData name="Mauricio Pena" userId="e8c94f7e-bc6e-4c95-ac94-d3ff72f76780" providerId="ADAL" clId="{204B67DF-D4CC-4CCA-8628-1A20B9DC31F2}" dt="2024-01-31T15:49:20.586" v="567" actId="478"/>
          <ac:cxnSpMkLst>
            <pc:docMk/>
            <pc:sldMk cId="2681821491" sldId="2449"/>
            <ac:cxnSpMk id="23" creationId="{FC2CCA92-6CD1-0592-8B1B-632084A3E603}"/>
          </ac:cxnSpMkLst>
        </pc:cxnChg>
      </pc:sldChg>
      <pc:sldChg chg="modSp mod">
        <pc:chgData name="Mauricio Pena" userId="e8c94f7e-bc6e-4c95-ac94-d3ff72f76780" providerId="ADAL" clId="{204B67DF-D4CC-4CCA-8628-1A20B9DC31F2}" dt="2024-02-01T09:29:38.904" v="786" actId="29295"/>
        <pc:sldMkLst>
          <pc:docMk/>
          <pc:sldMk cId="7716683" sldId="2522"/>
        </pc:sldMkLst>
        <pc:spChg chg="mod">
          <ac:chgData name="Mauricio Pena" userId="e8c94f7e-bc6e-4c95-ac94-d3ff72f76780" providerId="ADAL" clId="{204B67DF-D4CC-4CCA-8628-1A20B9DC31F2}" dt="2024-02-01T08:30:11.252" v="741" actId="6549"/>
          <ac:spMkLst>
            <pc:docMk/>
            <pc:sldMk cId="7716683" sldId="2522"/>
            <ac:spMk id="3" creationId="{BCCE3648-8753-4528-81B2-38C8DA48DA6F}"/>
          </ac:spMkLst>
        </pc:spChg>
        <pc:spChg chg="mod">
          <ac:chgData name="Mauricio Pena" userId="e8c94f7e-bc6e-4c95-ac94-d3ff72f76780" providerId="ADAL" clId="{204B67DF-D4CC-4CCA-8628-1A20B9DC31F2}" dt="2024-02-01T08:30:30.551" v="748" actId="403"/>
          <ac:spMkLst>
            <pc:docMk/>
            <pc:sldMk cId="7716683" sldId="2522"/>
            <ac:spMk id="6" creationId="{12A55244-6BBD-3CC0-ACDF-47D4610B081F}"/>
          </ac:spMkLst>
        </pc:spChg>
        <pc:picChg chg="mod">
          <ac:chgData name="Mauricio Pena" userId="e8c94f7e-bc6e-4c95-ac94-d3ff72f76780" providerId="ADAL" clId="{204B67DF-D4CC-4CCA-8628-1A20B9DC31F2}" dt="2024-02-01T09:29:38.904" v="786" actId="29295"/>
          <ac:picMkLst>
            <pc:docMk/>
            <pc:sldMk cId="7716683" sldId="2522"/>
            <ac:picMk id="5" creationId="{849B1DB3-ABE2-41EB-2AAD-57F4844462A0}"/>
          </ac:picMkLst>
        </pc:picChg>
      </pc:sldChg>
      <pc:sldChg chg="addSp delSp modSp mod">
        <pc:chgData name="Mauricio Pena" userId="e8c94f7e-bc6e-4c95-ac94-d3ff72f76780" providerId="ADAL" clId="{204B67DF-D4CC-4CCA-8628-1A20B9DC31F2}" dt="2024-01-31T15:49:59.652" v="575" actId="1038"/>
        <pc:sldMkLst>
          <pc:docMk/>
          <pc:sldMk cId="1373680846" sldId="2524"/>
        </pc:sldMkLst>
        <pc:spChg chg="mod topLvl">
          <ac:chgData name="Mauricio Pena" userId="e8c94f7e-bc6e-4c95-ac94-d3ff72f76780" providerId="ADAL" clId="{204B67DF-D4CC-4CCA-8628-1A20B9DC31F2}" dt="2024-01-31T15:49:42.957" v="568" actId="165"/>
          <ac:spMkLst>
            <pc:docMk/>
            <pc:sldMk cId="1373680846" sldId="2524"/>
            <ac:spMk id="3" creationId="{4082350C-0FD7-2CF3-676D-D04D446761D9}"/>
          </ac:spMkLst>
        </pc:spChg>
        <pc:spChg chg="mod">
          <ac:chgData name="Mauricio Pena" userId="e8c94f7e-bc6e-4c95-ac94-d3ff72f76780" providerId="ADAL" clId="{204B67DF-D4CC-4CCA-8628-1A20B9DC31F2}" dt="2024-01-31T15:46:58.046" v="509" actId="404"/>
          <ac:spMkLst>
            <pc:docMk/>
            <pc:sldMk cId="1373680846" sldId="2524"/>
            <ac:spMk id="4" creationId="{B7DA9801-0835-4143-95FD-E14093FEC971}"/>
          </ac:spMkLst>
        </pc:spChg>
        <pc:spChg chg="add mod topLvl">
          <ac:chgData name="Mauricio Pena" userId="e8c94f7e-bc6e-4c95-ac94-d3ff72f76780" providerId="ADAL" clId="{204B67DF-D4CC-4CCA-8628-1A20B9DC31F2}" dt="2024-01-31T15:49:52.116" v="569" actId="1035"/>
          <ac:spMkLst>
            <pc:docMk/>
            <pc:sldMk cId="1373680846" sldId="2524"/>
            <ac:spMk id="11" creationId="{4368F1F3-5642-F887-B49E-6C3C7A6E8A77}"/>
          </ac:spMkLst>
        </pc:spChg>
        <pc:spChg chg="add mod topLvl">
          <ac:chgData name="Mauricio Pena" userId="e8c94f7e-bc6e-4c95-ac94-d3ff72f76780" providerId="ADAL" clId="{204B67DF-D4CC-4CCA-8628-1A20B9DC31F2}" dt="2024-01-31T15:49:42.957" v="568" actId="165"/>
          <ac:spMkLst>
            <pc:docMk/>
            <pc:sldMk cId="1373680846" sldId="2524"/>
            <ac:spMk id="12" creationId="{754BB0DA-B25D-FE5C-4641-392795D381AF}"/>
          </ac:spMkLst>
        </pc:spChg>
        <pc:spChg chg="add mod topLvl">
          <ac:chgData name="Mauricio Pena" userId="e8c94f7e-bc6e-4c95-ac94-d3ff72f76780" providerId="ADAL" clId="{204B67DF-D4CC-4CCA-8628-1A20B9DC31F2}" dt="2024-01-31T15:49:52.116" v="569" actId="1035"/>
          <ac:spMkLst>
            <pc:docMk/>
            <pc:sldMk cId="1373680846" sldId="2524"/>
            <ac:spMk id="18" creationId="{C9BBFFFC-BD12-0744-8AD5-2CACA60709E0}"/>
          </ac:spMkLst>
        </pc:spChg>
        <pc:spChg chg="add mod topLvl">
          <ac:chgData name="Mauricio Pena" userId="e8c94f7e-bc6e-4c95-ac94-d3ff72f76780" providerId="ADAL" clId="{204B67DF-D4CC-4CCA-8628-1A20B9DC31F2}" dt="2024-01-31T15:49:52.116" v="569" actId="1035"/>
          <ac:spMkLst>
            <pc:docMk/>
            <pc:sldMk cId="1373680846" sldId="2524"/>
            <ac:spMk id="20" creationId="{9E5B338A-8C48-5ADB-5208-74744330F5C5}"/>
          </ac:spMkLst>
        </pc:spChg>
        <pc:spChg chg="add mod topLvl">
          <ac:chgData name="Mauricio Pena" userId="e8c94f7e-bc6e-4c95-ac94-d3ff72f76780" providerId="ADAL" clId="{204B67DF-D4CC-4CCA-8628-1A20B9DC31F2}" dt="2024-01-31T15:49:42.957" v="568" actId="165"/>
          <ac:spMkLst>
            <pc:docMk/>
            <pc:sldMk cId="1373680846" sldId="2524"/>
            <ac:spMk id="22" creationId="{3340BB79-2CB7-90F5-803C-4C8B75AD44FA}"/>
          </ac:spMkLst>
        </pc:spChg>
        <pc:spChg chg="add mod topLvl">
          <ac:chgData name="Mauricio Pena" userId="e8c94f7e-bc6e-4c95-ac94-d3ff72f76780" providerId="ADAL" clId="{204B67DF-D4CC-4CCA-8628-1A20B9DC31F2}" dt="2024-01-31T15:49:42.957" v="568" actId="165"/>
          <ac:spMkLst>
            <pc:docMk/>
            <pc:sldMk cId="1373680846" sldId="2524"/>
            <ac:spMk id="23" creationId="{321DF495-034B-C451-496C-F91EF62C4653}"/>
          </ac:spMkLst>
        </pc:spChg>
        <pc:spChg chg="mod topLvl">
          <ac:chgData name="Mauricio Pena" userId="e8c94f7e-bc6e-4c95-ac94-d3ff72f76780" providerId="ADAL" clId="{204B67DF-D4CC-4CCA-8628-1A20B9DC31F2}" dt="2024-01-31T15:49:42.957" v="568" actId="165"/>
          <ac:spMkLst>
            <pc:docMk/>
            <pc:sldMk cId="1373680846" sldId="2524"/>
            <ac:spMk id="56" creationId="{925DB842-37D1-4115-97D2-20C87069CC34}"/>
          </ac:spMkLst>
        </pc:spChg>
        <pc:spChg chg="mod topLvl">
          <ac:chgData name="Mauricio Pena" userId="e8c94f7e-bc6e-4c95-ac94-d3ff72f76780" providerId="ADAL" clId="{204B67DF-D4CC-4CCA-8628-1A20B9DC31F2}" dt="2024-01-31T15:49:42.957" v="568" actId="165"/>
          <ac:spMkLst>
            <pc:docMk/>
            <pc:sldMk cId="1373680846" sldId="2524"/>
            <ac:spMk id="66" creationId="{3D831979-D07B-4422-BAC6-4B631015F64B}"/>
          </ac:spMkLst>
        </pc:spChg>
        <pc:spChg chg="mod">
          <ac:chgData name="Mauricio Pena" userId="e8c94f7e-bc6e-4c95-ac94-d3ff72f76780" providerId="ADAL" clId="{204B67DF-D4CC-4CCA-8628-1A20B9DC31F2}" dt="2024-01-31T15:39:52.110" v="501" actId="20577"/>
          <ac:spMkLst>
            <pc:docMk/>
            <pc:sldMk cId="1373680846" sldId="2524"/>
            <ac:spMk id="67" creationId="{46D81B90-49B1-4C90-A06B-94DEFC5BE405}"/>
          </ac:spMkLst>
        </pc:spChg>
        <pc:grpChg chg="add del mod">
          <ac:chgData name="Mauricio Pena" userId="e8c94f7e-bc6e-4c95-ac94-d3ff72f76780" providerId="ADAL" clId="{204B67DF-D4CC-4CCA-8628-1A20B9DC31F2}" dt="2024-01-31T12:45:46.158" v="98"/>
          <ac:grpSpMkLst>
            <pc:docMk/>
            <pc:sldMk cId="1373680846" sldId="2524"/>
            <ac:grpSpMk id="6" creationId="{C7D2CFDB-D0EE-AC13-532B-AAD7F55C4E1C}"/>
          </ac:grpSpMkLst>
        </pc:grpChg>
        <pc:grpChg chg="add del mod">
          <ac:chgData name="Mauricio Pena" userId="e8c94f7e-bc6e-4c95-ac94-d3ff72f76780" providerId="ADAL" clId="{204B67DF-D4CC-4CCA-8628-1A20B9DC31F2}" dt="2024-01-31T15:49:42.957" v="568" actId="165"/>
          <ac:grpSpMkLst>
            <pc:docMk/>
            <pc:sldMk cId="1373680846" sldId="2524"/>
            <ac:grpSpMk id="8" creationId="{4A7BA780-E11F-12F9-A309-49E46D85351A}"/>
          </ac:grpSpMkLst>
        </pc:grpChg>
        <pc:grpChg chg="add del mod">
          <ac:chgData name="Mauricio Pena" userId="e8c94f7e-bc6e-4c95-ac94-d3ff72f76780" providerId="ADAL" clId="{204B67DF-D4CC-4CCA-8628-1A20B9DC31F2}" dt="2024-01-31T12:48:57.949" v="105" actId="165"/>
          <ac:grpSpMkLst>
            <pc:docMk/>
            <pc:sldMk cId="1373680846" sldId="2524"/>
            <ac:grpSpMk id="13" creationId="{387A5EB0-D3F4-645D-1096-480259731144}"/>
          </ac:grpSpMkLst>
        </pc:grpChg>
        <pc:grpChg chg="add del mod">
          <ac:chgData name="Mauricio Pena" userId="e8c94f7e-bc6e-4c95-ac94-d3ff72f76780" providerId="ADAL" clId="{204B67DF-D4CC-4CCA-8628-1A20B9DC31F2}" dt="2024-01-31T12:58:19.148" v="134" actId="165"/>
          <ac:grpSpMkLst>
            <pc:docMk/>
            <pc:sldMk cId="1373680846" sldId="2524"/>
            <ac:grpSpMk id="30" creationId="{18D0A089-F757-7C1F-A773-6BC231F5572F}"/>
          </ac:grpSpMkLst>
        </pc:grpChg>
        <pc:grpChg chg="add del mod">
          <ac:chgData name="Mauricio Pena" userId="e8c94f7e-bc6e-4c95-ac94-d3ff72f76780" providerId="ADAL" clId="{204B67DF-D4CC-4CCA-8628-1A20B9DC31F2}" dt="2024-01-31T13:00:25.318" v="146" actId="165"/>
          <ac:grpSpMkLst>
            <pc:docMk/>
            <pc:sldMk cId="1373680846" sldId="2524"/>
            <ac:grpSpMk id="31" creationId="{E452EC47-CEA7-55FF-6E66-A617B2D9E54C}"/>
          </ac:grpSpMkLst>
        </pc:grpChg>
        <pc:picChg chg="add del mod topLvl">
          <ac:chgData name="Mauricio Pena" userId="e8c94f7e-bc6e-4c95-ac94-d3ff72f76780" providerId="ADAL" clId="{204B67DF-D4CC-4CCA-8628-1A20B9DC31F2}" dt="2024-01-31T13:10:59.039" v="285" actId="478"/>
          <ac:picMkLst>
            <pc:docMk/>
            <pc:sldMk cId="1373680846" sldId="2524"/>
            <ac:picMk id="19" creationId="{4708B0A1-F189-76A6-4013-71FDF497000F}"/>
          </ac:picMkLst>
        </pc:picChg>
        <pc:picChg chg="add del mod topLvl">
          <ac:chgData name="Mauricio Pena" userId="e8c94f7e-bc6e-4c95-ac94-d3ff72f76780" providerId="ADAL" clId="{204B67DF-D4CC-4CCA-8628-1A20B9DC31F2}" dt="2024-01-31T13:11:46.008" v="295" actId="478"/>
          <ac:picMkLst>
            <pc:docMk/>
            <pc:sldMk cId="1373680846" sldId="2524"/>
            <ac:picMk id="21" creationId="{19AD6779-BB68-8F87-A6E3-1971399EBD92}"/>
          </ac:picMkLst>
        </pc:picChg>
        <pc:picChg chg="add mod topLvl">
          <ac:chgData name="Mauricio Pena" userId="e8c94f7e-bc6e-4c95-ac94-d3ff72f76780" providerId="ADAL" clId="{204B67DF-D4CC-4CCA-8628-1A20B9DC31F2}" dt="2024-01-31T15:49:52.116" v="569" actId="1035"/>
          <ac:picMkLst>
            <pc:docMk/>
            <pc:sldMk cId="1373680846" sldId="2524"/>
            <ac:picMk id="33" creationId="{E27100B2-A928-399C-7E8E-1A5450E6A2DC}"/>
          </ac:picMkLst>
        </pc:picChg>
        <pc:picChg chg="add mod topLvl">
          <ac:chgData name="Mauricio Pena" userId="e8c94f7e-bc6e-4c95-ac94-d3ff72f76780" providerId="ADAL" clId="{204B67DF-D4CC-4CCA-8628-1A20B9DC31F2}" dt="2024-01-31T15:49:42.957" v="568" actId="165"/>
          <ac:picMkLst>
            <pc:docMk/>
            <pc:sldMk cId="1373680846" sldId="2524"/>
            <ac:picMk id="34" creationId="{7981F29B-5607-BF42-7BF4-D33E312B81B1}"/>
          </ac:picMkLst>
        </pc:picChg>
        <pc:picChg chg="add mod topLvl">
          <ac:chgData name="Mauricio Pena" userId="e8c94f7e-bc6e-4c95-ac94-d3ff72f76780" providerId="ADAL" clId="{204B67DF-D4CC-4CCA-8628-1A20B9DC31F2}" dt="2024-01-31T15:49:42.957" v="568" actId="165"/>
          <ac:picMkLst>
            <pc:docMk/>
            <pc:sldMk cId="1373680846" sldId="2524"/>
            <ac:picMk id="35" creationId="{8F0DC99B-ACBB-F735-90CF-6394F58DF0C8}"/>
          </ac:picMkLst>
        </pc:picChg>
        <pc:picChg chg="del mod topLvl">
          <ac:chgData name="Mauricio Pena" userId="e8c94f7e-bc6e-4c95-ac94-d3ff72f76780" providerId="ADAL" clId="{204B67DF-D4CC-4CCA-8628-1A20B9DC31F2}" dt="2024-01-31T13:12:32.889" v="299" actId="478"/>
          <ac:picMkLst>
            <pc:docMk/>
            <pc:sldMk cId="1373680846" sldId="2524"/>
            <ac:picMk id="106" creationId="{0E29B963-F830-446A-B2C0-681D351380EE}"/>
          </ac:picMkLst>
        </pc:picChg>
        <pc:cxnChg chg="add mod topLvl">
          <ac:chgData name="Mauricio Pena" userId="e8c94f7e-bc6e-4c95-ac94-d3ff72f76780" providerId="ADAL" clId="{204B67DF-D4CC-4CCA-8628-1A20B9DC31F2}" dt="2024-01-31T15:49:42.957" v="568" actId="165"/>
          <ac:cxnSpMkLst>
            <pc:docMk/>
            <pc:sldMk cId="1373680846" sldId="2524"/>
            <ac:cxnSpMk id="6" creationId="{EFD8AAEE-FFF0-6D19-727C-731298BF4DB4}"/>
          </ac:cxnSpMkLst>
        </pc:cxnChg>
        <pc:cxnChg chg="mod">
          <ac:chgData name="Mauricio Pena" userId="e8c94f7e-bc6e-4c95-ac94-d3ff72f76780" providerId="ADAL" clId="{204B67DF-D4CC-4CCA-8628-1A20B9DC31F2}" dt="2024-01-31T12:44:34.488" v="95"/>
          <ac:cxnSpMkLst>
            <pc:docMk/>
            <pc:sldMk cId="1373680846" sldId="2524"/>
            <ac:cxnSpMk id="8" creationId="{F950087A-E804-062B-E391-249D6B09A8C1}"/>
          </ac:cxnSpMkLst>
        </pc:cxnChg>
        <pc:cxnChg chg="mod">
          <ac:chgData name="Mauricio Pena" userId="e8c94f7e-bc6e-4c95-ac94-d3ff72f76780" providerId="ADAL" clId="{204B67DF-D4CC-4CCA-8628-1A20B9DC31F2}" dt="2024-01-31T12:44:34.488" v="95"/>
          <ac:cxnSpMkLst>
            <pc:docMk/>
            <pc:sldMk cId="1373680846" sldId="2524"/>
            <ac:cxnSpMk id="9" creationId="{40A4BD99-93F0-F79E-03EF-5C4100B1EC5C}"/>
          </ac:cxnSpMkLst>
        </pc:cxnChg>
        <pc:cxnChg chg="mod">
          <ac:chgData name="Mauricio Pena" userId="e8c94f7e-bc6e-4c95-ac94-d3ff72f76780" providerId="ADAL" clId="{204B67DF-D4CC-4CCA-8628-1A20B9DC31F2}" dt="2024-01-31T12:44:34.488" v="95"/>
          <ac:cxnSpMkLst>
            <pc:docMk/>
            <pc:sldMk cId="1373680846" sldId="2524"/>
            <ac:cxnSpMk id="10" creationId="{08FC9C85-8E75-4840-C10F-D62576F22830}"/>
          </ac:cxnSpMkLst>
        </pc:cxnChg>
        <pc:cxnChg chg="mod topLvl">
          <ac:chgData name="Mauricio Pena" userId="e8c94f7e-bc6e-4c95-ac94-d3ff72f76780" providerId="ADAL" clId="{204B67DF-D4CC-4CCA-8628-1A20B9DC31F2}" dt="2024-01-31T15:49:59.652" v="575" actId="1038"/>
          <ac:cxnSpMkLst>
            <pc:docMk/>
            <pc:sldMk cId="1373680846" sldId="2524"/>
            <ac:cxnSpMk id="14" creationId="{4993B7F1-FA77-D42C-EFFC-0B8C3902F999}"/>
          </ac:cxnSpMkLst>
        </pc:cxnChg>
        <pc:cxnChg chg="del mod topLvl">
          <ac:chgData name="Mauricio Pena" userId="e8c94f7e-bc6e-4c95-ac94-d3ff72f76780" providerId="ADAL" clId="{204B67DF-D4CC-4CCA-8628-1A20B9DC31F2}" dt="2024-01-31T15:38:04.437" v="468" actId="478"/>
          <ac:cxnSpMkLst>
            <pc:docMk/>
            <pc:sldMk cId="1373680846" sldId="2524"/>
            <ac:cxnSpMk id="15" creationId="{C717173D-AA29-C623-4BD4-F0C6EDF59C25}"/>
          </ac:cxnSpMkLst>
        </pc:cxnChg>
        <pc:cxnChg chg="del mod topLvl">
          <ac:chgData name="Mauricio Pena" userId="e8c94f7e-bc6e-4c95-ac94-d3ff72f76780" providerId="ADAL" clId="{204B67DF-D4CC-4CCA-8628-1A20B9DC31F2}" dt="2024-01-31T12:59:01.098" v="143" actId="478"/>
          <ac:cxnSpMkLst>
            <pc:docMk/>
            <pc:sldMk cId="1373680846" sldId="2524"/>
            <ac:cxnSpMk id="17" creationId="{A52637B0-6F07-1EC1-0F62-3803B3CF047A}"/>
          </ac:cxnSpMkLst>
        </pc:cxnChg>
        <pc:cxnChg chg="add del mod">
          <ac:chgData name="Mauricio Pena" userId="e8c94f7e-bc6e-4c95-ac94-d3ff72f76780" providerId="ADAL" clId="{204B67DF-D4CC-4CCA-8628-1A20B9DC31F2}" dt="2024-01-31T12:57:06.910" v="126" actId="478"/>
          <ac:cxnSpMkLst>
            <pc:docMk/>
            <pc:sldMk cId="1373680846" sldId="2524"/>
            <ac:cxnSpMk id="25" creationId="{278AC047-9DE8-F3C6-7C84-758EF28EFC88}"/>
          </ac:cxnSpMkLst>
        </pc:cxnChg>
        <pc:cxnChg chg="add del mod">
          <ac:chgData name="Mauricio Pena" userId="e8c94f7e-bc6e-4c95-ac94-d3ff72f76780" providerId="ADAL" clId="{204B67DF-D4CC-4CCA-8628-1A20B9DC31F2}" dt="2024-01-31T12:57:05.610" v="125" actId="478"/>
          <ac:cxnSpMkLst>
            <pc:docMk/>
            <pc:sldMk cId="1373680846" sldId="2524"/>
            <ac:cxnSpMk id="28" creationId="{4CF732E3-4B4C-BDF3-4F65-89502441E09B}"/>
          </ac:cxnSpMkLst>
        </pc:cxnChg>
      </pc:sldChg>
      <pc:sldChg chg="addSp delSp modSp del mod">
        <pc:chgData name="Mauricio Pena" userId="e8c94f7e-bc6e-4c95-ac94-d3ff72f76780" providerId="ADAL" clId="{204B67DF-D4CC-4CCA-8628-1A20B9DC31F2}" dt="2024-01-31T16:09:40.160" v="672" actId="2696"/>
        <pc:sldMkLst>
          <pc:docMk/>
          <pc:sldMk cId="2770796793" sldId="2525"/>
        </pc:sldMkLst>
        <pc:spChg chg="add del">
          <ac:chgData name="Mauricio Pena" userId="e8c94f7e-bc6e-4c95-ac94-d3ff72f76780" providerId="ADAL" clId="{204B67DF-D4CC-4CCA-8628-1A20B9DC31F2}" dt="2024-01-31T15:56:41.211" v="595" actId="21"/>
          <ac:spMkLst>
            <pc:docMk/>
            <pc:sldMk cId="2770796793" sldId="2525"/>
            <ac:spMk id="3" creationId="{4082350C-0FD7-2CF3-676D-D04D446761D9}"/>
          </ac:spMkLst>
        </pc:spChg>
        <pc:spChg chg="mod">
          <ac:chgData name="Mauricio Pena" userId="e8c94f7e-bc6e-4c95-ac94-d3ff72f76780" providerId="ADAL" clId="{204B67DF-D4CC-4CCA-8628-1A20B9DC31F2}" dt="2024-01-31T15:48:42.242" v="547" actId="14100"/>
          <ac:spMkLst>
            <pc:docMk/>
            <pc:sldMk cId="2770796793" sldId="2525"/>
            <ac:spMk id="4" creationId="{B7DA9801-0835-4143-95FD-E14093FEC971}"/>
          </ac:spMkLst>
        </pc:spChg>
        <pc:spChg chg="mod">
          <ac:chgData name="Mauricio Pena" userId="e8c94f7e-bc6e-4c95-ac94-d3ff72f76780" providerId="ADAL" clId="{204B67DF-D4CC-4CCA-8628-1A20B9DC31F2}" dt="2024-01-31T15:48:31.347" v="542" actId="14100"/>
          <ac:spMkLst>
            <pc:docMk/>
            <pc:sldMk cId="2770796793" sldId="2525"/>
            <ac:spMk id="5" creationId="{444E32C3-FFC6-41E3-A361-663774D7500E}"/>
          </ac:spMkLst>
        </pc:spChg>
        <pc:spChg chg="add del">
          <ac:chgData name="Mauricio Pena" userId="e8c94f7e-bc6e-4c95-ac94-d3ff72f76780" providerId="ADAL" clId="{204B67DF-D4CC-4CCA-8628-1A20B9DC31F2}" dt="2024-01-31T16:06:17.019" v="646" actId="21"/>
          <ac:spMkLst>
            <pc:docMk/>
            <pc:sldMk cId="2770796793" sldId="2525"/>
            <ac:spMk id="6" creationId="{A94A8A2F-4E2F-8D4C-F9C4-C176DF8B99A2}"/>
          </ac:spMkLst>
        </pc:spChg>
        <pc:spChg chg="add del">
          <ac:chgData name="Mauricio Pena" userId="e8c94f7e-bc6e-4c95-ac94-d3ff72f76780" providerId="ADAL" clId="{204B67DF-D4CC-4CCA-8628-1A20B9DC31F2}" dt="2024-01-31T15:56:41.211" v="595" actId="21"/>
          <ac:spMkLst>
            <pc:docMk/>
            <pc:sldMk cId="2770796793" sldId="2525"/>
            <ac:spMk id="8" creationId="{4596D989-D6E9-2D7D-441B-79C05215E694}"/>
          </ac:spMkLst>
        </pc:spChg>
        <pc:spChg chg="add del">
          <ac:chgData name="Mauricio Pena" userId="e8c94f7e-bc6e-4c95-ac94-d3ff72f76780" providerId="ADAL" clId="{204B67DF-D4CC-4CCA-8628-1A20B9DC31F2}" dt="2024-01-31T16:06:17.019" v="646" actId="21"/>
          <ac:spMkLst>
            <pc:docMk/>
            <pc:sldMk cId="2770796793" sldId="2525"/>
            <ac:spMk id="10" creationId="{28913F2D-D848-07FD-AD0C-3B413DC90E4E}"/>
          </ac:spMkLst>
        </pc:spChg>
        <pc:spChg chg="add del">
          <ac:chgData name="Mauricio Pena" userId="e8c94f7e-bc6e-4c95-ac94-d3ff72f76780" providerId="ADAL" clId="{204B67DF-D4CC-4CCA-8628-1A20B9DC31F2}" dt="2024-01-31T15:56:41.211" v="595" actId="21"/>
          <ac:spMkLst>
            <pc:docMk/>
            <pc:sldMk cId="2770796793" sldId="2525"/>
            <ac:spMk id="56" creationId="{925DB842-37D1-4115-97D2-20C87069CC34}"/>
          </ac:spMkLst>
        </pc:spChg>
        <pc:spChg chg="add del">
          <ac:chgData name="Mauricio Pena" userId="e8c94f7e-bc6e-4c95-ac94-d3ff72f76780" providerId="ADAL" clId="{204B67DF-D4CC-4CCA-8628-1A20B9DC31F2}" dt="2024-01-31T16:06:17.019" v="646" actId="21"/>
          <ac:spMkLst>
            <pc:docMk/>
            <pc:sldMk cId="2770796793" sldId="2525"/>
            <ac:spMk id="57" creationId="{C2663665-9B22-4B68-82D7-634FD0D718E0}"/>
          </ac:spMkLst>
        </pc:spChg>
        <pc:spChg chg="add del">
          <ac:chgData name="Mauricio Pena" userId="e8c94f7e-bc6e-4c95-ac94-d3ff72f76780" providerId="ADAL" clId="{204B67DF-D4CC-4CCA-8628-1A20B9DC31F2}" dt="2024-01-31T15:56:41.211" v="595" actId="21"/>
          <ac:spMkLst>
            <pc:docMk/>
            <pc:sldMk cId="2770796793" sldId="2525"/>
            <ac:spMk id="58" creationId="{C3A9EE8E-EBC8-40E8-A7C4-EB5621D3DABC}"/>
          </ac:spMkLst>
        </pc:spChg>
        <pc:spChg chg="add del">
          <ac:chgData name="Mauricio Pena" userId="e8c94f7e-bc6e-4c95-ac94-d3ff72f76780" providerId="ADAL" clId="{204B67DF-D4CC-4CCA-8628-1A20B9DC31F2}" dt="2024-01-31T16:06:17.019" v="646" actId="21"/>
          <ac:spMkLst>
            <pc:docMk/>
            <pc:sldMk cId="2770796793" sldId="2525"/>
            <ac:spMk id="59" creationId="{CBF42CAE-8FD1-403C-A71F-CA56A9EE0447}"/>
          </ac:spMkLst>
        </pc:spChg>
        <pc:spChg chg="add del">
          <ac:chgData name="Mauricio Pena" userId="e8c94f7e-bc6e-4c95-ac94-d3ff72f76780" providerId="ADAL" clId="{204B67DF-D4CC-4CCA-8628-1A20B9DC31F2}" dt="2024-01-31T15:56:41.211" v="595" actId="21"/>
          <ac:spMkLst>
            <pc:docMk/>
            <pc:sldMk cId="2770796793" sldId="2525"/>
            <ac:spMk id="66" creationId="{3D831979-D07B-4422-BAC6-4B631015F64B}"/>
          </ac:spMkLst>
        </pc:spChg>
        <pc:spChg chg="mod">
          <ac:chgData name="Mauricio Pena" userId="e8c94f7e-bc6e-4c95-ac94-d3ff72f76780" providerId="ADAL" clId="{204B67DF-D4CC-4CCA-8628-1A20B9DC31F2}" dt="2024-01-31T15:48:26.436" v="541" actId="20577"/>
          <ac:spMkLst>
            <pc:docMk/>
            <pc:sldMk cId="2770796793" sldId="2525"/>
            <ac:spMk id="67" creationId="{46D81B90-49B1-4C90-A06B-94DEFC5BE405}"/>
          </ac:spMkLst>
        </pc:spChg>
        <pc:spChg chg="add del">
          <ac:chgData name="Mauricio Pena" userId="e8c94f7e-bc6e-4c95-ac94-d3ff72f76780" providerId="ADAL" clId="{204B67DF-D4CC-4CCA-8628-1A20B9DC31F2}" dt="2024-01-31T16:06:17.019" v="646" actId="21"/>
          <ac:spMkLst>
            <pc:docMk/>
            <pc:sldMk cId="2770796793" sldId="2525"/>
            <ac:spMk id="68" creationId="{28AFF06C-A63A-4A40-A0DB-6AAE5F7CC0FB}"/>
          </ac:spMkLst>
        </pc:spChg>
        <pc:spChg chg="add del">
          <ac:chgData name="Mauricio Pena" userId="e8c94f7e-bc6e-4c95-ac94-d3ff72f76780" providerId="ADAL" clId="{204B67DF-D4CC-4CCA-8628-1A20B9DC31F2}" dt="2024-01-31T15:56:41.211" v="595" actId="21"/>
          <ac:spMkLst>
            <pc:docMk/>
            <pc:sldMk cId="2770796793" sldId="2525"/>
            <ac:spMk id="84" creationId="{258D11DF-8BF5-4555-A8BE-C65DF9D11B9D}"/>
          </ac:spMkLst>
        </pc:spChg>
        <pc:spChg chg="add del">
          <ac:chgData name="Mauricio Pena" userId="e8c94f7e-bc6e-4c95-ac94-d3ff72f76780" providerId="ADAL" clId="{204B67DF-D4CC-4CCA-8628-1A20B9DC31F2}" dt="2024-01-31T16:06:17.019" v="646" actId="21"/>
          <ac:spMkLst>
            <pc:docMk/>
            <pc:sldMk cId="2770796793" sldId="2525"/>
            <ac:spMk id="85" creationId="{72C6BD19-160C-4ACA-B9DC-77A71A6E3198}"/>
          </ac:spMkLst>
        </pc:spChg>
        <pc:picChg chg="add del">
          <ac:chgData name="Mauricio Pena" userId="e8c94f7e-bc6e-4c95-ac94-d3ff72f76780" providerId="ADAL" clId="{204B67DF-D4CC-4CCA-8628-1A20B9DC31F2}" dt="2024-01-31T15:56:41.211" v="595" actId="21"/>
          <ac:picMkLst>
            <pc:docMk/>
            <pc:sldMk cId="2770796793" sldId="2525"/>
            <ac:picMk id="106" creationId="{0E29B963-F830-446A-B2C0-681D351380EE}"/>
          </ac:picMkLst>
        </pc:picChg>
        <pc:picChg chg="add del">
          <ac:chgData name="Mauricio Pena" userId="e8c94f7e-bc6e-4c95-ac94-d3ff72f76780" providerId="ADAL" clId="{204B67DF-D4CC-4CCA-8628-1A20B9DC31F2}" dt="2024-01-31T16:06:17.019" v="646" actId="21"/>
          <ac:picMkLst>
            <pc:docMk/>
            <pc:sldMk cId="2770796793" sldId="2525"/>
            <ac:picMk id="108" creationId="{6F5BE68D-4A64-416A-BC4A-77425D374F3D}"/>
          </ac:picMkLst>
        </pc:picChg>
        <pc:picChg chg="add del">
          <ac:chgData name="Mauricio Pena" userId="e8c94f7e-bc6e-4c95-ac94-d3ff72f76780" providerId="ADAL" clId="{204B67DF-D4CC-4CCA-8628-1A20B9DC31F2}" dt="2024-01-31T15:56:41.211" v="595" actId="21"/>
          <ac:picMkLst>
            <pc:docMk/>
            <pc:sldMk cId="2770796793" sldId="2525"/>
            <ac:picMk id="109" creationId="{4CF713F9-618F-46E0-BBA5-8C15CB461D37}"/>
          </ac:picMkLst>
        </pc:picChg>
        <pc:picChg chg="add del">
          <ac:chgData name="Mauricio Pena" userId="e8c94f7e-bc6e-4c95-ac94-d3ff72f76780" providerId="ADAL" clId="{204B67DF-D4CC-4CCA-8628-1A20B9DC31F2}" dt="2024-01-31T16:06:17.019" v="646" actId="21"/>
          <ac:picMkLst>
            <pc:docMk/>
            <pc:sldMk cId="2770796793" sldId="2525"/>
            <ac:picMk id="111" creationId="{EEC9B30A-1D3B-4E3B-8F1C-C54EC0F9CF4D}"/>
          </ac:picMkLst>
        </pc:picChg>
      </pc:sldChg>
      <pc:sldChg chg="addSp delSp modSp mod">
        <pc:chgData name="Mauricio Pena" userId="e8c94f7e-bc6e-4c95-ac94-d3ff72f76780" providerId="ADAL" clId="{204B67DF-D4CC-4CCA-8628-1A20B9DC31F2}" dt="2024-02-01T08:23:27.767" v="739" actId="14826"/>
        <pc:sldMkLst>
          <pc:docMk/>
          <pc:sldMk cId="2558631534" sldId="2526"/>
        </pc:sldMkLst>
        <pc:spChg chg="add mod topLvl">
          <ac:chgData name="Mauricio Pena" userId="e8c94f7e-bc6e-4c95-ac94-d3ff72f76780" providerId="ADAL" clId="{204B67DF-D4CC-4CCA-8628-1A20B9DC31F2}" dt="2024-02-01T08:20:32.258" v="723" actId="165"/>
          <ac:spMkLst>
            <pc:docMk/>
            <pc:sldMk cId="2558631534" sldId="2526"/>
            <ac:spMk id="3" creationId="{DDD43217-4463-9909-F03B-9148241E762E}"/>
          </ac:spMkLst>
        </pc:spChg>
        <pc:spChg chg="mod">
          <ac:chgData name="Mauricio Pena" userId="e8c94f7e-bc6e-4c95-ac94-d3ff72f76780" providerId="ADAL" clId="{204B67DF-D4CC-4CCA-8628-1A20B9DC31F2}" dt="2024-01-31T15:48:52.791" v="551" actId="404"/>
          <ac:spMkLst>
            <pc:docMk/>
            <pc:sldMk cId="2558631534" sldId="2526"/>
            <ac:spMk id="4" creationId="{B7DA9801-0835-4143-95FD-E14093FEC971}"/>
          </ac:spMkLst>
        </pc:spChg>
        <pc:spChg chg="mod topLvl">
          <ac:chgData name="Mauricio Pena" userId="e8c94f7e-bc6e-4c95-ac94-d3ff72f76780" providerId="ADAL" clId="{204B67DF-D4CC-4CCA-8628-1A20B9DC31F2}" dt="2024-02-01T08:20:32.258" v="723" actId="165"/>
          <ac:spMkLst>
            <pc:docMk/>
            <pc:sldMk cId="2558631534" sldId="2526"/>
            <ac:spMk id="6" creationId="{A94A8A2F-4E2F-8D4C-F9C4-C176DF8B99A2}"/>
          </ac:spMkLst>
        </pc:spChg>
        <pc:spChg chg="add mod topLvl">
          <ac:chgData name="Mauricio Pena" userId="e8c94f7e-bc6e-4c95-ac94-d3ff72f76780" providerId="ADAL" clId="{204B67DF-D4CC-4CCA-8628-1A20B9DC31F2}" dt="2024-02-01T08:20:32.258" v="723" actId="165"/>
          <ac:spMkLst>
            <pc:docMk/>
            <pc:sldMk cId="2558631534" sldId="2526"/>
            <ac:spMk id="7" creationId="{070426B9-0357-9E83-B831-1555650F9F2F}"/>
          </ac:spMkLst>
        </pc:spChg>
        <pc:spChg chg="mod topLvl">
          <ac:chgData name="Mauricio Pena" userId="e8c94f7e-bc6e-4c95-ac94-d3ff72f76780" providerId="ADAL" clId="{204B67DF-D4CC-4CCA-8628-1A20B9DC31F2}" dt="2024-02-01T08:20:32.258" v="723" actId="165"/>
          <ac:spMkLst>
            <pc:docMk/>
            <pc:sldMk cId="2558631534" sldId="2526"/>
            <ac:spMk id="8" creationId="{4596D989-D6E9-2D7D-441B-79C05215E694}"/>
          </ac:spMkLst>
        </pc:spChg>
        <pc:spChg chg="add mod topLvl">
          <ac:chgData name="Mauricio Pena" userId="e8c94f7e-bc6e-4c95-ac94-d3ff72f76780" providerId="ADAL" clId="{204B67DF-D4CC-4CCA-8628-1A20B9DC31F2}" dt="2024-02-01T08:20:32.258" v="723" actId="165"/>
          <ac:spMkLst>
            <pc:docMk/>
            <pc:sldMk cId="2558631534" sldId="2526"/>
            <ac:spMk id="11" creationId="{568AD561-AD77-BA73-73DD-4CABBADFFA57}"/>
          </ac:spMkLst>
        </pc:spChg>
        <pc:spChg chg="mod topLvl">
          <ac:chgData name="Mauricio Pena" userId="e8c94f7e-bc6e-4c95-ac94-d3ff72f76780" providerId="ADAL" clId="{204B67DF-D4CC-4CCA-8628-1A20B9DC31F2}" dt="2024-02-01T08:20:32.258" v="723" actId="165"/>
          <ac:spMkLst>
            <pc:docMk/>
            <pc:sldMk cId="2558631534" sldId="2526"/>
            <ac:spMk id="57" creationId="{C2663665-9B22-4B68-82D7-634FD0D718E0}"/>
          </ac:spMkLst>
        </pc:spChg>
        <pc:spChg chg="mod topLvl">
          <ac:chgData name="Mauricio Pena" userId="e8c94f7e-bc6e-4c95-ac94-d3ff72f76780" providerId="ADAL" clId="{204B67DF-D4CC-4CCA-8628-1A20B9DC31F2}" dt="2024-02-01T08:20:32.258" v="723" actId="165"/>
          <ac:spMkLst>
            <pc:docMk/>
            <pc:sldMk cId="2558631534" sldId="2526"/>
            <ac:spMk id="58" creationId="{C3A9EE8E-EBC8-40E8-A7C4-EB5621D3DABC}"/>
          </ac:spMkLst>
        </pc:spChg>
        <pc:spChg chg="mod">
          <ac:chgData name="Mauricio Pena" userId="e8c94f7e-bc6e-4c95-ac94-d3ff72f76780" providerId="ADAL" clId="{204B67DF-D4CC-4CCA-8628-1A20B9DC31F2}" dt="2024-01-31T15:48:59.005" v="564" actId="20577"/>
          <ac:spMkLst>
            <pc:docMk/>
            <pc:sldMk cId="2558631534" sldId="2526"/>
            <ac:spMk id="67" creationId="{46D81B90-49B1-4C90-A06B-94DEFC5BE405}"/>
          </ac:spMkLst>
        </pc:spChg>
        <pc:spChg chg="mod topLvl">
          <ac:chgData name="Mauricio Pena" userId="e8c94f7e-bc6e-4c95-ac94-d3ff72f76780" providerId="ADAL" clId="{204B67DF-D4CC-4CCA-8628-1A20B9DC31F2}" dt="2024-02-01T08:20:32.258" v="723" actId="165"/>
          <ac:spMkLst>
            <pc:docMk/>
            <pc:sldMk cId="2558631534" sldId="2526"/>
            <ac:spMk id="68" creationId="{28AFF06C-A63A-4A40-A0DB-6AAE5F7CC0FB}"/>
          </ac:spMkLst>
        </pc:spChg>
        <pc:spChg chg="mod topLvl">
          <ac:chgData name="Mauricio Pena" userId="e8c94f7e-bc6e-4c95-ac94-d3ff72f76780" providerId="ADAL" clId="{204B67DF-D4CC-4CCA-8628-1A20B9DC31F2}" dt="2024-02-01T08:20:32.258" v="723" actId="165"/>
          <ac:spMkLst>
            <pc:docMk/>
            <pc:sldMk cId="2558631534" sldId="2526"/>
            <ac:spMk id="84" creationId="{258D11DF-8BF5-4555-A8BE-C65DF9D11B9D}"/>
          </ac:spMkLst>
        </pc:spChg>
        <pc:grpChg chg="add del mod">
          <ac:chgData name="Mauricio Pena" userId="e8c94f7e-bc6e-4c95-ac94-d3ff72f76780" providerId="ADAL" clId="{204B67DF-D4CC-4CCA-8628-1A20B9DC31F2}" dt="2024-02-01T08:20:32.258" v="723" actId="165"/>
          <ac:grpSpMkLst>
            <pc:docMk/>
            <pc:sldMk cId="2558631534" sldId="2526"/>
            <ac:grpSpMk id="12" creationId="{8756EA70-8530-E895-A2D2-21B4C9691997}"/>
          </ac:grpSpMkLst>
        </pc:grpChg>
        <pc:grpChg chg="del">
          <ac:chgData name="Mauricio Pena" userId="e8c94f7e-bc6e-4c95-ac94-d3ff72f76780" providerId="ADAL" clId="{204B67DF-D4CC-4CCA-8628-1A20B9DC31F2}" dt="2024-02-01T08:19:46.009" v="718" actId="165"/>
          <ac:grpSpMkLst>
            <pc:docMk/>
            <pc:sldMk cId="2558631534" sldId="2526"/>
            <ac:grpSpMk id="60" creationId="{58C77DFA-A2CA-45FD-9544-D45FCEFD5B0F}"/>
          </ac:grpSpMkLst>
        </pc:grpChg>
        <pc:picChg chg="add del mod topLvl">
          <ac:chgData name="Mauricio Pena" userId="e8c94f7e-bc6e-4c95-ac94-d3ff72f76780" providerId="ADAL" clId="{204B67DF-D4CC-4CCA-8628-1A20B9DC31F2}" dt="2024-02-01T08:21:04.427" v="730" actId="478"/>
          <ac:picMkLst>
            <pc:docMk/>
            <pc:sldMk cId="2558631534" sldId="2526"/>
            <ac:picMk id="10" creationId="{7B026D84-C191-887A-B92D-FA704A23F529}"/>
          </ac:picMkLst>
        </pc:picChg>
        <pc:picChg chg="add mod">
          <ac:chgData name="Mauricio Pena" userId="e8c94f7e-bc6e-4c95-ac94-d3ff72f76780" providerId="ADAL" clId="{204B67DF-D4CC-4CCA-8628-1A20B9DC31F2}" dt="2024-02-01T08:21:38.881" v="733" actId="14826"/>
          <ac:picMkLst>
            <pc:docMk/>
            <pc:sldMk cId="2558631534" sldId="2526"/>
            <ac:picMk id="14" creationId="{AFA4A93A-B6FD-DFD7-0592-9A4DC6A280C7}"/>
          </ac:picMkLst>
        </pc:picChg>
        <pc:picChg chg="add mod">
          <ac:chgData name="Mauricio Pena" userId="e8c94f7e-bc6e-4c95-ac94-d3ff72f76780" providerId="ADAL" clId="{204B67DF-D4CC-4CCA-8628-1A20B9DC31F2}" dt="2024-02-01T08:22:19.849" v="736" actId="14826"/>
          <ac:picMkLst>
            <pc:docMk/>
            <pc:sldMk cId="2558631534" sldId="2526"/>
            <ac:picMk id="15" creationId="{75572AF9-FCDB-882A-94FC-9C7B68893FB3}"/>
          </ac:picMkLst>
        </pc:picChg>
        <pc:picChg chg="add mod">
          <ac:chgData name="Mauricio Pena" userId="e8c94f7e-bc6e-4c95-ac94-d3ff72f76780" providerId="ADAL" clId="{204B67DF-D4CC-4CCA-8628-1A20B9DC31F2}" dt="2024-02-01T08:23:27.767" v="739" actId="14826"/>
          <ac:picMkLst>
            <pc:docMk/>
            <pc:sldMk cId="2558631534" sldId="2526"/>
            <ac:picMk id="16" creationId="{B57F1295-AEA3-0BFC-7F83-76477E54B790}"/>
          </ac:picMkLst>
        </pc:picChg>
        <pc:picChg chg="del mod topLvl">
          <ac:chgData name="Mauricio Pena" userId="e8c94f7e-bc6e-4c95-ac94-d3ff72f76780" providerId="ADAL" clId="{204B67DF-D4CC-4CCA-8628-1A20B9DC31F2}" dt="2024-02-01T08:21:03.875" v="729" actId="478"/>
          <ac:picMkLst>
            <pc:docMk/>
            <pc:sldMk cId="2558631534" sldId="2526"/>
            <ac:picMk id="108" creationId="{6F5BE68D-4A64-416A-BC4A-77425D374F3D}"/>
          </ac:picMkLst>
        </pc:picChg>
        <pc:picChg chg="del mod topLvl">
          <ac:chgData name="Mauricio Pena" userId="e8c94f7e-bc6e-4c95-ac94-d3ff72f76780" providerId="ADAL" clId="{204B67DF-D4CC-4CCA-8628-1A20B9DC31F2}" dt="2024-02-01T08:21:03.108" v="728" actId="478"/>
          <ac:picMkLst>
            <pc:docMk/>
            <pc:sldMk cId="2558631534" sldId="2526"/>
            <ac:picMk id="109" creationId="{4CF713F9-618F-46E0-BBA5-8C15CB461D37}"/>
          </ac:picMkLst>
        </pc:picChg>
        <pc:cxnChg chg="mod topLvl">
          <ac:chgData name="Mauricio Pena" userId="e8c94f7e-bc6e-4c95-ac94-d3ff72f76780" providerId="ADAL" clId="{204B67DF-D4CC-4CCA-8628-1A20B9DC31F2}" dt="2024-02-01T08:20:35.720" v="725" actId="1038"/>
          <ac:cxnSpMkLst>
            <pc:docMk/>
            <pc:sldMk cId="2558631534" sldId="2526"/>
            <ac:cxnSpMk id="61" creationId="{CF325144-0920-4C28-B175-22E182C0E139}"/>
          </ac:cxnSpMkLst>
        </pc:cxnChg>
        <pc:cxnChg chg="mod topLvl">
          <ac:chgData name="Mauricio Pena" userId="e8c94f7e-bc6e-4c95-ac94-d3ff72f76780" providerId="ADAL" clId="{204B67DF-D4CC-4CCA-8628-1A20B9DC31F2}" dt="2024-02-01T08:20:39.996" v="726" actId="1038"/>
          <ac:cxnSpMkLst>
            <pc:docMk/>
            <pc:sldMk cId="2558631534" sldId="2526"/>
            <ac:cxnSpMk id="62" creationId="{2AD0081B-8449-462A-B4F5-2FA7BEF44EF7}"/>
          </ac:cxnSpMkLst>
        </pc:cxnChg>
        <pc:cxnChg chg="del mod topLvl">
          <ac:chgData name="Mauricio Pena" userId="e8c94f7e-bc6e-4c95-ac94-d3ff72f76780" providerId="ADAL" clId="{204B67DF-D4CC-4CCA-8628-1A20B9DC31F2}" dt="2024-02-01T08:19:49.665" v="719" actId="478"/>
          <ac:cxnSpMkLst>
            <pc:docMk/>
            <pc:sldMk cId="2558631534" sldId="2526"/>
            <ac:cxnSpMk id="63" creationId="{DF3B4036-43C9-4925-B1FE-8DC524B9EF41}"/>
          </ac:cxnSpMkLst>
        </pc:cxnChg>
      </pc:sldChg>
      <pc:sldChg chg="modSp mod">
        <pc:chgData name="Mauricio Pena" userId="e8c94f7e-bc6e-4c95-ac94-d3ff72f76780" providerId="ADAL" clId="{204B67DF-D4CC-4CCA-8628-1A20B9DC31F2}" dt="2024-01-31T13:08:51.510" v="283" actId="20577"/>
        <pc:sldMkLst>
          <pc:docMk/>
          <pc:sldMk cId="3350667678" sldId="2528"/>
        </pc:sldMkLst>
        <pc:spChg chg="mod">
          <ac:chgData name="Mauricio Pena" userId="e8c94f7e-bc6e-4c95-ac94-d3ff72f76780" providerId="ADAL" clId="{204B67DF-D4CC-4CCA-8628-1A20B9DC31F2}" dt="2024-01-31T13:08:51.510" v="283" actId="20577"/>
          <ac:spMkLst>
            <pc:docMk/>
            <pc:sldMk cId="3350667678" sldId="2528"/>
            <ac:spMk id="30" creationId="{D7D58870-CD42-8214-D742-2C13690708D7}"/>
          </ac:spMkLst>
        </pc:spChg>
      </pc:sldChg>
      <pc:sldChg chg="addSp delSp modSp mod">
        <pc:chgData name="Mauricio Pena" userId="e8c94f7e-bc6e-4c95-ac94-d3ff72f76780" providerId="ADAL" clId="{204B67DF-D4CC-4CCA-8628-1A20B9DC31F2}" dt="2024-01-31T15:19:05.507" v="453"/>
        <pc:sldMkLst>
          <pc:docMk/>
          <pc:sldMk cId="2815347433" sldId="2531"/>
        </pc:sldMkLst>
        <pc:spChg chg="mod topLvl">
          <ac:chgData name="Mauricio Pena" userId="e8c94f7e-bc6e-4c95-ac94-d3ff72f76780" providerId="ADAL" clId="{204B67DF-D4CC-4CCA-8628-1A20B9DC31F2}" dt="2024-01-31T15:07:22.443" v="396" actId="165"/>
          <ac:spMkLst>
            <pc:docMk/>
            <pc:sldMk cId="2815347433" sldId="2531"/>
            <ac:spMk id="3" creationId="{4082350C-0FD7-2CF3-676D-D04D446761D9}"/>
          </ac:spMkLst>
        </pc:spChg>
        <pc:spChg chg="mod">
          <ac:chgData name="Mauricio Pena" userId="e8c94f7e-bc6e-4c95-ac94-d3ff72f76780" providerId="ADAL" clId="{204B67DF-D4CC-4CCA-8628-1A20B9DC31F2}" dt="2024-01-31T14:47:46.528" v="360" actId="403"/>
          <ac:spMkLst>
            <pc:docMk/>
            <pc:sldMk cId="2815347433" sldId="2531"/>
            <ac:spMk id="4" creationId="{B7DA9801-0835-4143-95FD-E14093FEC971}"/>
          </ac:spMkLst>
        </pc:spChg>
        <pc:spChg chg="mod topLvl">
          <ac:chgData name="Mauricio Pena" userId="e8c94f7e-bc6e-4c95-ac94-d3ff72f76780" providerId="ADAL" clId="{204B67DF-D4CC-4CCA-8628-1A20B9DC31F2}" dt="2024-01-31T15:19:05.507" v="453"/>
          <ac:spMkLst>
            <pc:docMk/>
            <pc:sldMk cId="2815347433" sldId="2531"/>
            <ac:spMk id="6" creationId="{A94A8A2F-4E2F-8D4C-F9C4-C176DF8B99A2}"/>
          </ac:spMkLst>
        </pc:spChg>
        <pc:spChg chg="mod topLvl">
          <ac:chgData name="Mauricio Pena" userId="e8c94f7e-bc6e-4c95-ac94-d3ff72f76780" providerId="ADAL" clId="{204B67DF-D4CC-4CCA-8628-1A20B9DC31F2}" dt="2024-01-31T15:07:22.443" v="396" actId="165"/>
          <ac:spMkLst>
            <pc:docMk/>
            <pc:sldMk cId="2815347433" sldId="2531"/>
            <ac:spMk id="12" creationId="{FF931894-96AF-C06C-18EF-8BD5B025C910}"/>
          </ac:spMkLst>
        </pc:spChg>
        <pc:spChg chg="mod topLvl">
          <ac:chgData name="Mauricio Pena" userId="e8c94f7e-bc6e-4c95-ac94-d3ff72f76780" providerId="ADAL" clId="{204B67DF-D4CC-4CCA-8628-1A20B9DC31F2}" dt="2024-01-31T15:07:22.443" v="396" actId="165"/>
          <ac:spMkLst>
            <pc:docMk/>
            <pc:sldMk cId="2815347433" sldId="2531"/>
            <ac:spMk id="15" creationId="{7C3B7565-7A12-170E-D26F-B778D5ECF15B}"/>
          </ac:spMkLst>
        </pc:spChg>
        <pc:spChg chg="del mod">
          <ac:chgData name="Mauricio Pena" userId="e8c94f7e-bc6e-4c95-ac94-d3ff72f76780" providerId="ADAL" clId="{204B67DF-D4CC-4CCA-8628-1A20B9DC31F2}" dt="2024-01-31T15:06:38.964" v="388" actId="478"/>
          <ac:spMkLst>
            <pc:docMk/>
            <pc:sldMk cId="2815347433" sldId="2531"/>
            <ac:spMk id="18" creationId="{BDFC4D65-77CB-3796-E5BF-DB322F6C6AE0}"/>
          </ac:spMkLst>
        </pc:spChg>
        <pc:spChg chg="del mod">
          <ac:chgData name="Mauricio Pena" userId="e8c94f7e-bc6e-4c95-ac94-d3ff72f76780" providerId="ADAL" clId="{204B67DF-D4CC-4CCA-8628-1A20B9DC31F2}" dt="2024-01-31T15:06:40.867" v="389" actId="478"/>
          <ac:spMkLst>
            <pc:docMk/>
            <pc:sldMk cId="2815347433" sldId="2531"/>
            <ac:spMk id="21" creationId="{62822967-1F89-2F4D-DCF0-11708A41A017}"/>
          </ac:spMkLst>
        </pc:spChg>
        <pc:spChg chg="mod topLvl">
          <ac:chgData name="Mauricio Pena" userId="e8c94f7e-bc6e-4c95-ac94-d3ff72f76780" providerId="ADAL" clId="{204B67DF-D4CC-4CCA-8628-1A20B9DC31F2}" dt="2024-01-31T15:07:22.443" v="396" actId="165"/>
          <ac:spMkLst>
            <pc:docMk/>
            <pc:sldMk cId="2815347433" sldId="2531"/>
            <ac:spMk id="56" creationId="{925DB842-37D1-4115-97D2-20C87069CC34}"/>
          </ac:spMkLst>
        </pc:spChg>
        <pc:spChg chg="mod topLvl">
          <ac:chgData name="Mauricio Pena" userId="e8c94f7e-bc6e-4c95-ac94-d3ff72f76780" providerId="ADAL" clId="{204B67DF-D4CC-4CCA-8628-1A20B9DC31F2}" dt="2024-01-31T15:18:06.046" v="450"/>
          <ac:spMkLst>
            <pc:docMk/>
            <pc:sldMk cId="2815347433" sldId="2531"/>
            <ac:spMk id="57" creationId="{C2663665-9B22-4B68-82D7-634FD0D718E0}"/>
          </ac:spMkLst>
        </pc:spChg>
        <pc:spChg chg="mod topLvl">
          <ac:chgData name="Mauricio Pena" userId="e8c94f7e-bc6e-4c95-ac94-d3ff72f76780" providerId="ADAL" clId="{204B67DF-D4CC-4CCA-8628-1A20B9DC31F2}" dt="2024-01-31T15:07:22.443" v="396" actId="165"/>
          <ac:spMkLst>
            <pc:docMk/>
            <pc:sldMk cId="2815347433" sldId="2531"/>
            <ac:spMk id="58" creationId="{C3A9EE8E-EBC8-40E8-A7C4-EB5621D3DABC}"/>
          </ac:spMkLst>
        </pc:spChg>
        <pc:spChg chg="del">
          <ac:chgData name="Mauricio Pena" userId="e8c94f7e-bc6e-4c95-ac94-d3ff72f76780" providerId="ADAL" clId="{204B67DF-D4CC-4CCA-8628-1A20B9DC31F2}" dt="2024-01-31T15:06:33.962" v="383" actId="478"/>
          <ac:spMkLst>
            <pc:docMk/>
            <pc:sldMk cId="2815347433" sldId="2531"/>
            <ac:spMk id="59" creationId="{CBF42CAE-8FD1-403C-A71F-CA56A9EE0447}"/>
          </ac:spMkLst>
        </pc:spChg>
        <pc:spChg chg="mod topLvl">
          <ac:chgData name="Mauricio Pena" userId="e8c94f7e-bc6e-4c95-ac94-d3ff72f76780" providerId="ADAL" clId="{204B67DF-D4CC-4CCA-8628-1A20B9DC31F2}" dt="2024-01-31T15:07:22.443" v="396" actId="165"/>
          <ac:spMkLst>
            <pc:docMk/>
            <pc:sldMk cId="2815347433" sldId="2531"/>
            <ac:spMk id="66" creationId="{3D831979-D07B-4422-BAC6-4B631015F64B}"/>
          </ac:spMkLst>
        </pc:spChg>
        <pc:spChg chg="mod">
          <ac:chgData name="Mauricio Pena" userId="e8c94f7e-bc6e-4c95-ac94-d3ff72f76780" providerId="ADAL" clId="{204B67DF-D4CC-4CCA-8628-1A20B9DC31F2}" dt="2024-01-31T14:47:59.934" v="362" actId="20577"/>
          <ac:spMkLst>
            <pc:docMk/>
            <pc:sldMk cId="2815347433" sldId="2531"/>
            <ac:spMk id="67" creationId="{46D81B90-49B1-4C90-A06B-94DEFC5BE405}"/>
          </ac:spMkLst>
        </pc:spChg>
        <pc:spChg chg="mod topLvl">
          <ac:chgData name="Mauricio Pena" userId="e8c94f7e-bc6e-4c95-ac94-d3ff72f76780" providerId="ADAL" clId="{204B67DF-D4CC-4CCA-8628-1A20B9DC31F2}" dt="2024-01-31T15:18:47.681" v="452"/>
          <ac:spMkLst>
            <pc:docMk/>
            <pc:sldMk cId="2815347433" sldId="2531"/>
            <ac:spMk id="68" creationId="{28AFF06C-A63A-4A40-A0DB-6AAE5F7CC0FB}"/>
          </ac:spMkLst>
        </pc:spChg>
        <pc:grpChg chg="add del mod">
          <ac:chgData name="Mauricio Pena" userId="e8c94f7e-bc6e-4c95-ac94-d3ff72f76780" providerId="ADAL" clId="{204B67DF-D4CC-4CCA-8628-1A20B9DC31F2}" dt="2024-01-31T15:07:22.443" v="396" actId="165"/>
          <ac:grpSpMkLst>
            <pc:docMk/>
            <pc:sldMk cId="2815347433" sldId="2531"/>
            <ac:grpSpMk id="8" creationId="{1EE48D15-5F45-D23F-6E56-828B28A67226}"/>
          </ac:grpSpMkLst>
        </pc:grpChg>
        <pc:grpChg chg="del mod topLvl">
          <ac:chgData name="Mauricio Pena" userId="e8c94f7e-bc6e-4c95-ac94-d3ff72f76780" providerId="ADAL" clId="{204B67DF-D4CC-4CCA-8628-1A20B9DC31F2}" dt="2024-01-31T15:07:28.905" v="397" actId="165"/>
          <ac:grpSpMkLst>
            <pc:docMk/>
            <pc:sldMk cId="2815347433" sldId="2531"/>
            <ac:grpSpMk id="60" creationId="{58C77DFA-A2CA-45FD-9544-D45FCEFD5B0F}"/>
          </ac:grpSpMkLst>
        </pc:grpChg>
        <pc:picChg chg="del mod topLvl">
          <ac:chgData name="Mauricio Pena" userId="e8c94f7e-bc6e-4c95-ac94-d3ff72f76780" providerId="ADAL" clId="{204B67DF-D4CC-4CCA-8628-1A20B9DC31F2}" dt="2024-01-31T15:11:19.874" v="428" actId="478"/>
          <ac:picMkLst>
            <pc:docMk/>
            <pc:sldMk cId="2815347433" sldId="2531"/>
            <ac:picMk id="9" creationId="{41F428FE-6F1C-AF0E-84A3-ECB5F30C949F}"/>
          </ac:picMkLst>
        </pc:picChg>
        <pc:picChg chg="add mod">
          <ac:chgData name="Mauricio Pena" userId="e8c94f7e-bc6e-4c95-ac94-d3ff72f76780" providerId="ADAL" clId="{204B67DF-D4CC-4CCA-8628-1A20B9DC31F2}" dt="2024-01-31T15:12:02.007" v="433" actId="14826"/>
          <ac:picMkLst>
            <pc:docMk/>
            <pc:sldMk cId="2815347433" sldId="2531"/>
            <ac:picMk id="10" creationId="{83B87C16-1421-AB82-8A4B-FFDB643CB30F}"/>
          </ac:picMkLst>
        </pc:picChg>
        <pc:picChg chg="add mod">
          <ac:chgData name="Mauricio Pena" userId="e8c94f7e-bc6e-4c95-ac94-d3ff72f76780" providerId="ADAL" clId="{204B67DF-D4CC-4CCA-8628-1A20B9DC31F2}" dt="2024-01-31T15:18:23.846" v="451" actId="14826"/>
          <ac:picMkLst>
            <pc:docMk/>
            <pc:sldMk cId="2815347433" sldId="2531"/>
            <ac:picMk id="11" creationId="{295C87CB-2A6B-8A1E-72AB-FFEFC020E0DE}"/>
          </ac:picMkLst>
        </pc:picChg>
        <pc:picChg chg="add mod">
          <ac:chgData name="Mauricio Pena" userId="e8c94f7e-bc6e-4c95-ac94-d3ff72f76780" providerId="ADAL" clId="{204B67DF-D4CC-4CCA-8628-1A20B9DC31F2}" dt="2024-01-31T15:13:19.770" v="439" actId="14826"/>
          <ac:picMkLst>
            <pc:docMk/>
            <pc:sldMk cId="2815347433" sldId="2531"/>
            <ac:picMk id="14" creationId="{6CF929FE-AA82-9BF9-F0AB-8C104DE133AC}"/>
          </ac:picMkLst>
        </pc:picChg>
        <pc:picChg chg="del">
          <ac:chgData name="Mauricio Pena" userId="e8c94f7e-bc6e-4c95-ac94-d3ff72f76780" providerId="ADAL" clId="{204B67DF-D4CC-4CCA-8628-1A20B9DC31F2}" dt="2024-01-31T15:06:34.972" v="384" actId="478"/>
          <ac:picMkLst>
            <pc:docMk/>
            <pc:sldMk cId="2815347433" sldId="2531"/>
            <ac:picMk id="16" creationId="{76A51D55-D933-2E5B-46F5-15BDEABC45C6}"/>
          </ac:picMkLst>
        </pc:picChg>
        <pc:picChg chg="del mod topLvl">
          <ac:chgData name="Mauricio Pena" userId="e8c94f7e-bc6e-4c95-ac94-d3ff72f76780" providerId="ADAL" clId="{204B67DF-D4CC-4CCA-8628-1A20B9DC31F2}" dt="2024-01-31T15:11:21.774" v="430" actId="478"/>
          <ac:picMkLst>
            <pc:docMk/>
            <pc:sldMk cId="2815347433" sldId="2531"/>
            <ac:picMk id="106" creationId="{0E29B963-F830-446A-B2C0-681D351380EE}"/>
          </ac:picMkLst>
        </pc:picChg>
        <pc:picChg chg="del mod topLvl">
          <ac:chgData name="Mauricio Pena" userId="e8c94f7e-bc6e-4c95-ac94-d3ff72f76780" providerId="ADAL" clId="{204B67DF-D4CC-4CCA-8628-1A20B9DC31F2}" dt="2024-01-31T15:11:20.865" v="429" actId="478"/>
          <ac:picMkLst>
            <pc:docMk/>
            <pc:sldMk cId="2815347433" sldId="2531"/>
            <ac:picMk id="108" creationId="{6F5BE68D-4A64-416A-BC4A-77425D374F3D}"/>
          </ac:picMkLst>
        </pc:picChg>
        <pc:cxnChg chg="mod topLvl">
          <ac:chgData name="Mauricio Pena" userId="e8c94f7e-bc6e-4c95-ac94-d3ff72f76780" providerId="ADAL" clId="{204B67DF-D4CC-4CCA-8628-1A20B9DC31F2}" dt="2024-01-31T15:07:28.905" v="397" actId="165"/>
          <ac:cxnSpMkLst>
            <pc:docMk/>
            <pc:sldMk cId="2815347433" sldId="2531"/>
            <ac:cxnSpMk id="61" creationId="{CF325144-0920-4C28-B175-22E182C0E139}"/>
          </ac:cxnSpMkLst>
        </pc:cxnChg>
        <pc:cxnChg chg="mod topLvl">
          <ac:chgData name="Mauricio Pena" userId="e8c94f7e-bc6e-4c95-ac94-d3ff72f76780" providerId="ADAL" clId="{204B67DF-D4CC-4CCA-8628-1A20B9DC31F2}" dt="2024-01-31T15:07:28.905" v="397" actId="165"/>
          <ac:cxnSpMkLst>
            <pc:docMk/>
            <pc:sldMk cId="2815347433" sldId="2531"/>
            <ac:cxnSpMk id="62" creationId="{2AD0081B-8449-462A-B4F5-2FA7BEF44EF7}"/>
          </ac:cxnSpMkLst>
        </pc:cxnChg>
        <pc:cxnChg chg="del mod topLvl">
          <ac:chgData name="Mauricio Pena" userId="e8c94f7e-bc6e-4c95-ac94-d3ff72f76780" providerId="ADAL" clId="{204B67DF-D4CC-4CCA-8628-1A20B9DC31F2}" dt="2024-01-31T15:07:33.354" v="398" actId="478"/>
          <ac:cxnSpMkLst>
            <pc:docMk/>
            <pc:sldMk cId="2815347433" sldId="2531"/>
            <ac:cxnSpMk id="63" creationId="{DF3B4036-43C9-4925-B1FE-8DC524B9EF41}"/>
          </ac:cxnSpMkLst>
        </pc:cxnChg>
      </pc:sldChg>
      <pc:sldChg chg="addSp delSp modSp mod">
        <pc:chgData name="Mauricio Pena" userId="e8c94f7e-bc6e-4c95-ac94-d3ff72f76780" providerId="ADAL" clId="{204B67DF-D4CC-4CCA-8628-1A20B9DC31F2}" dt="2024-01-31T16:19:22.761" v="702" actId="14826"/>
        <pc:sldMkLst>
          <pc:docMk/>
          <pc:sldMk cId="1851828799" sldId="2532"/>
        </pc:sldMkLst>
        <pc:spChg chg="del">
          <ac:chgData name="Mauricio Pena" userId="e8c94f7e-bc6e-4c95-ac94-d3ff72f76780" providerId="ADAL" clId="{204B67DF-D4CC-4CCA-8628-1A20B9DC31F2}" dt="2024-01-31T15:52:25.059" v="580" actId="21"/>
          <ac:spMkLst>
            <pc:docMk/>
            <pc:sldMk cId="1851828799" sldId="2532"/>
            <ac:spMk id="3" creationId="{4082350C-0FD7-2CF3-676D-D04D446761D9}"/>
          </ac:spMkLst>
        </pc:spChg>
        <pc:spChg chg="mod">
          <ac:chgData name="Mauricio Pena" userId="e8c94f7e-bc6e-4c95-ac94-d3ff72f76780" providerId="ADAL" clId="{204B67DF-D4CC-4CCA-8628-1A20B9DC31F2}" dt="2024-01-31T15:47:11.088" v="515" actId="403"/>
          <ac:spMkLst>
            <pc:docMk/>
            <pc:sldMk cId="1851828799" sldId="2532"/>
            <ac:spMk id="4" creationId="{B7DA9801-0835-4143-95FD-E14093FEC971}"/>
          </ac:spMkLst>
        </pc:spChg>
        <pc:spChg chg="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6" creationId="{A94A8A2F-4E2F-8D4C-F9C4-C176DF8B99A2}"/>
          </ac:spMkLst>
        </pc:spChg>
        <pc:spChg chg="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8" creationId="{4596D989-D6E9-2D7D-441B-79C05215E694}"/>
          </ac:spMkLst>
        </pc:spChg>
        <pc:spChg chg="del">
          <ac:chgData name="Mauricio Pena" userId="e8c94f7e-bc6e-4c95-ac94-d3ff72f76780" providerId="ADAL" clId="{204B67DF-D4CC-4CCA-8628-1A20B9DC31F2}" dt="2024-01-31T15:52:25.059" v="580" actId="21"/>
          <ac:spMkLst>
            <pc:docMk/>
            <pc:sldMk cId="1851828799" sldId="2532"/>
            <ac:spMk id="10" creationId="{28913F2D-D848-07FD-AD0C-3B413DC90E4E}"/>
          </ac:spMkLst>
        </pc:spChg>
        <pc:spChg chg="add del mod">
          <ac:chgData name="Mauricio Pena" userId="e8c94f7e-bc6e-4c95-ac94-d3ff72f76780" providerId="ADAL" clId="{204B67DF-D4CC-4CCA-8628-1A20B9DC31F2}" dt="2024-01-31T15:54:15.967" v="586"/>
          <ac:spMkLst>
            <pc:docMk/>
            <pc:sldMk cId="1851828799" sldId="2532"/>
            <ac:spMk id="11" creationId="{0E70D414-3490-1CF8-A939-7C1368D58343}"/>
          </ac:spMkLst>
        </pc:spChg>
        <pc:spChg chg="add del mod">
          <ac:chgData name="Mauricio Pena" userId="e8c94f7e-bc6e-4c95-ac94-d3ff72f76780" providerId="ADAL" clId="{204B67DF-D4CC-4CCA-8628-1A20B9DC31F2}" dt="2024-01-31T15:54:15.967" v="586"/>
          <ac:spMkLst>
            <pc:docMk/>
            <pc:sldMk cId="1851828799" sldId="2532"/>
            <ac:spMk id="12" creationId="{FF239569-733E-F199-3ECD-09B88931EA03}"/>
          </ac:spMkLst>
        </pc:spChg>
        <pc:spChg chg="del">
          <ac:chgData name="Mauricio Pena" userId="e8c94f7e-bc6e-4c95-ac94-d3ff72f76780" providerId="ADAL" clId="{204B67DF-D4CC-4CCA-8628-1A20B9DC31F2}" dt="2024-01-31T15:52:25.059" v="580" actId="21"/>
          <ac:spMkLst>
            <pc:docMk/>
            <pc:sldMk cId="1851828799" sldId="2532"/>
            <ac:spMk id="13" creationId="{8AD4082F-7CB5-2DDE-7136-17A23FD233DC}"/>
          </ac:spMkLst>
        </pc:spChg>
        <pc:spChg chg="add del mod">
          <ac:chgData name="Mauricio Pena" userId="e8c94f7e-bc6e-4c95-ac94-d3ff72f76780" providerId="ADAL" clId="{204B67DF-D4CC-4CCA-8628-1A20B9DC31F2}" dt="2024-01-31T15:54:15.967" v="586"/>
          <ac:spMkLst>
            <pc:docMk/>
            <pc:sldMk cId="1851828799" sldId="2532"/>
            <ac:spMk id="15" creationId="{67077219-FE26-1857-D5A3-4BA927B91539}"/>
          </ac:spMkLst>
        </pc:spChg>
        <pc:spChg chg="add del mod">
          <ac:chgData name="Mauricio Pena" userId="e8c94f7e-bc6e-4c95-ac94-d3ff72f76780" providerId="ADAL" clId="{204B67DF-D4CC-4CCA-8628-1A20B9DC31F2}" dt="2024-01-31T15:54:15.967" v="586"/>
          <ac:spMkLst>
            <pc:docMk/>
            <pc:sldMk cId="1851828799" sldId="2532"/>
            <ac:spMk id="16" creationId="{B9269C01-1517-5A04-E1E2-FFEC75C92DA0}"/>
          </ac:spMkLst>
        </pc:spChg>
        <pc:spChg chg="add del mod">
          <ac:chgData name="Mauricio Pena" userId="e8c94f7e-bc6e-4c95-ac94-d3ff72f76780" providerId="ADAL" clId="{204B67DF-D4CC-4CCA-8628-1A20B9DC31F2}" dt="2024-01-31T15:54:15.967" v="586"/>
          <ac:spMkLst>
            <pc:docMk/>
            <pc:sldMk cId="1851828799" sldId="2532"/>
            <ac:spMk id="19" creationId="{DB13C970-2659-E7AC-56F6-E74D0257A960}"/>
          </ac:spMkLst>
        </pc:spChg>
        <pc:spChg chg="add del mod">
          <ac:chgData name="Mauricio Pena" userId="e8c94f7e-bc6e-4c95-ac94-d3ff72f76780" providerId="ADAL" clId="{204B67DF-D4CC-4CCA-8628-1A20B9DC31F2}" dt="2024-01-31T15:54:15.967" v="586"/>
          <ac:spMkLst>
            <pc:docMk/>
            <pc:sldMk cId="1851828799" sldId="2532"/>
            <ac:spMk id="20" creationId="{6C695E33-91BA-1C8E-733F-F84CBADE0054}"/>
          </ac:spMkLst>
        </pc:spChg>
        <pc:spChg chg="add 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21" creationId="{BC840129-62E5-7869-47FA-10D60D004A21}"/>
          </ac:spMkLst>
        </pc:spChg>
        <pc:spChg chg="add 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22" creationId="{EC9D94BB-6558-32B7-C54F-2772FD78C376}"/>
          </ac:spMkLst>
        </pc:spChg>
        <pc:spChg chg="add 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23" creationId="{55193783-3FD0-C3E6-4EB5-AF77818D695D}"/>
          </ac:spMkLst>
        </pc:spChg>
        <pc:spChg chg="add 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24" creationId="{21470FD5-BEB8-E9F9-1620-61E86F0E22AE}"/>
          </ac:spMkLst>
        </pc:spChg>
        <pc:spChg chg="add 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27" creationId="{70140EFD-0895-D2DF-F4CB-5FF47C6489B1}"/>
          </ac:spMkLst>
        </pc:spChg>
        <pc:spChg chg="add 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28" creationId="{986AAB3D-EFCB-71A0-FF2B-3D3BF6D1B1BA}"/>
          </ac:spMkLst>
        </pc:spChg>
        <pc:spChg chg="del">
          <ac:chgData name="Mauricio Pena" userId="e8c94f7e-bc6e-4c95-ac94-d3ff72f76780" providerId="ADAL" clId="{204B67DF-D4CC-4CCA-8628-1A20B9DC31F2}" dt="2024-01-31T15:52:25.059" v="580" actId="21"/>
          <ac:spMkLst>
            <pc:docMk/>
            <pc:sldMk cId="1851828799" sldId="2532"/>
            <ac:spMk id="56" creationId="{925DB842-37D1-4115-97D2-20C87069CC34}"/>
          </ac:spMkLst>
        </pc:spChg>
        <pc:spChg chg="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57" creationId="{C2663665-9B22-4B68-82D7-634FD0D718E0}"/>
          </ac:spMkLst>
        </pc:spChg>
        <pc:spChg chg="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58" creationId="{C3A9EE8E-EBC8-40E8-A7C4-EB5621D3DABC}"/>
          </ac:spMkLst>
        </pc:spChg>
        <pc:spChg chg="del">
          <ac:chgData name="Mauricio Pena" userId="e8c94f7e-bc6e-4c95-ac94-d3ff72f76780" providerId="ADAL" clId="{204B67DF-D4CC-4CCA-8628-1A20B9DC31F2}" dt="2024-01-31T15:52:25.059" v="580" actId="21"/>
          <ac:spMkLst>
            <pc:docMk/>
            <pc:sldMk cId="1851828799" sldId="2532"/>
            <ac:spMk id="59" creationId="{CBF42CAE-8FD1-403C-A71F-CA56A9EE0447}"/>
          </ac:spMkLst>
        </pc:spChg>
        <pc:spChg chg="mod">
          <ac:chgData name="Mauricio Pena" userId="e8c94f7e-bc6e-4c95-ac94-d3ff72f76780" providerId="ADAL" clId="{204B67DF-D4CC-4CCA-8628-1A20B9DC31F2}" dt="2024-01-31T15:47:15.740" v="528" actId="20577"/>
          <ac:spMkLst>
            <pc:docMk/>
            <pc:sldMk cId="1851828799" sldId="2532"/>
            <ac:spMk id="67" creationId="{46D81B90-49B1-4C90-A06B-94DEFC5BE405}"/>
          </ac:spMkLst>
        </pc:spChg>
        <pc:spChg chg="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68" creationId="{28AFF06C-A63A-4A40-A0DB-6AAE5F7CC0FB}"/>
          </ac:spMkLst>
        </pc:spChg>
        <pc:spChg chg="mod">
          <ac:chgData name="Mauricio Pena" userId="e8c94f7e-bc6e-4c95-ac94-d3ff72f76780" providerId="ADAL" clId="{204B67DF-D4CC-4CCA-8628-1A20B9DC31F2}" dt="2024-01-31T16:19:22.761" v="702" actId="14826"/>
          <ac:spMkLst>
            <pc:docMk/>
            <pc:sldMk cId="1851828799" sldId="2532"/>
            <ac:spMk id="84" creationId="{258D11DF-8BF5-4555-A8BE-C65DF9D11B9D}"/>
          </ac:spMkLst>
        </pc:spChg>
        <pc:spChg chg="del">
          <ac:chgData name="Mauricio Pena" userId="e8c94f7e-bc6e-4c95-ac94-d3ff72f76780" providerId="ADAL" clId="{204B67DF-D4CC-4CCA-8628-1A20B9DC31F2}" dt="2024-01-31T15:52:25.059" v="580" actId="21"/>
          <ac:spMkLst>
            <pc:docMk/>
            <pc:sldMk cId="1851828799" sldId="2532"/>
            <ac:spMk id="85" creationId="{72C6BD19-160C-4ACA-B9DC-77A71A6E3198}"/>
          </ac:spMkLst>
        </pc:spChg>
        <pc:grpChg chg="add mod">
          <ac:chgData name="Mauricio Pena" userId="e8c94f7e-bc6e-4c95-ac94-d3ff72f76780" providerId="ADAL" clId="{204B67DF-D4CC-4CCA-8628-1A20B9DC31F2}" dt="2024-01-31T16:19:22.761" v="702" actId="14826"/>
          <ac:grpSpMkLst>
            <pc:docMk/>
            <pc:sldMk cId="1851828799" sldId="2532"/>
            <ac:grpSpMk id="34" creationId="{4173CE7B-306A-2014-1C19-BE262D43B543}"/>
          </ac:grpSpMkLst>
        </pc:grpChg>
        <pc:grpChg chg="del mod">
          <ac:chgData name="Mauricio Pena" userId="e8c94f7e-bc6e-4c95-ac94-d3ff72f76780" providerId="ADAL" clId="{204B67DF-D4CC-4CCA-8628-1A20B9DC31F2}" dt="2024-01-31T15:55:43.992" v="590" actId="165"/>
          <ac:grpSpMkLst>
            <pc:docMk/>
            <pc:sldMk cId="1851828799" sldId="2532"/>
            <ac:grpSpMk id="60" creationId="{58C77DFA-A2CA-45FD-9544-D45FCEFD5B0F}"/>
          </ac:grpSpMkLst>
        </pc:grpChg>
        <pc:picChg chg="del">
          <ac:chgData name="Mauricio Pena" userId="e8c94f7e-bc6e-4c95-ac94-d3ff72f76780" providerId="ADAL" clId="{204B67DF-D4CC-4CCA-8628-1A20B9DC31F2}" dt="2024-01-31T15:52:25.059" v="580" actId="21"/>
          <ac:picMkLst>
            <pc:docMk/>
            <pc:sldMk cId="1851828799" sldId="2532"/>
            <ac:picMk id="9" creationId="{0573C45A-CEB8-9B00-5A5A-E5CA0C4171E5}"/>
          </ac:picMkLst>
        </pc:picChg>
        <pc:picChg chg="add del mod">
          <ac:chgData name="Mauricio Pena" userId="e8c94f7e-bc6e-4c95-ac94-d3ff72f76780" providerId="ADAL" clId="{204B67DF-D4CC-4CCA-8628-1A20B9DC31F2}" dt="2024-01-31T15:54:15.967" v="586"/>
          <ac:picMkLst>
            <pc:docMk/>
            <pc:sldMk cId="1851828799" sldId="2532"/>
            <ac:picMk id="17" creationId="{CA5FB14D-BD7E-F9C4-825F-ECB4B0C6DF1B}"/>
          </ac:picMkLst>
        </pc:picChg>
        <pc:picChg chg="add del mod">
          <ac:chgData name="Mauricio Pena" userId="e8c94f7e-bc6e-4c95-ac94-d3ff72f76780" providerId="ADAL" clId="{204B67DF-D4CC-4CCA-8628-1A20B9DC31F2}" dt="2024-01-31T15:54:15.967" v="586"/>
          <ac:picMkLst>
            <pc:docMk/>
            <pc:sldMk cId="1851828799" sldId="2532"/>
            <ac:picMk id="18" creationId="{923C7E54-0DF4-AE3A-D82E-5CFB4043BBF0}"/>
          </ac:picMkLst>
        </pc:picChg>
        <pc:picChg chg="add del mod">
          <ac:chgData name="Mauricio Pena" userId="e8c94f7e-bc6e-4c95-ac94-d3ff72f76780" providerId="ADAL" clId="{204B67DF-D4CC-4CCA-8628-1A20B9DC31F2}" dt="2024-01-31T16:00:03.273" v="624" actId="478"/>
          <ac:picMkLst>
            <pc:docMk/>
            <pc:sldMk cId="1851828799" sldId="2532"/>
            <ac:picMk id="25" creationId="{BADC9CFA-7C2F-48BF-75AD-B8EF6E383771}"/>
          </ac:picMkLst>
        </pc:picChg>
        <pc:picChg chg="add del mod">
          <ac:chgData name="Mauricio Pena" userId="e8c94f7e-bc6e-4c95-ac94-d3ff72f76780" providerId="ADAL" clId="{204B67DF-D4CC-4CCA-8628-1A20B9DC31F2}" dt="2024-01-31T16:00:04.251" v="625" actId="478"/>
          <ac:picMkLst>
            <pc:docMk/>
            <pc:sldMk cId="1851828799" sldId="2532"/>
            <ac:picMk id="26" creationId="{B49D479C-C87F-BE22-B99D-7AA0F5EBB628}"/>
          </ac:picMkLst>
        </pc:picChg>
        <pc:picChg chg="add mod">
          <ac:chgData name="Mauricio Pena" userId="e8c94f7e-bc6e-4c95-ac94-d3ff72f76780" providerId="ADAL" clId="{204B67DF-D4CC-4CCA-8628-1A20B9DC31F2}" dt="2024-01-31T16:19:22.761" v="702" actId="14826"/>
          <ac:picMkLst>
            <pc:docMk/>
            <pc:sldMk cId="1851828799" sldId="2532"/>
            <ac:picMk id="30" creationId="{A92C173D-618A-AAE5-F3D7-212D6E71EE60}"/>
          </ac:picMkLst>
        </pc:picChg>
        <pc:picChg chg="add mod">
          <ac:chgData name="Mauricio Pena" userId="e8c94f7e-bc6e-4c95-ac94-d3ff72f76780" providerId="ADAL" clId="{204B67DF-D4CC-4CCA-8628-1A20B9DC31F2}" dt="2024-01-31T16:19:22.761" v="702" actId="14826"/>
          <ac:picMkLst>
            <pc:docMk/>
            <pc:sldMk cId="1851828799" sldId="2532"/>
            <ac:picMk id="31" creationId="{FA198363-FDC1-E97B-FD8C-520AC664BB56}"/>
          </ac:picMkLst>
        </pc:picChg>
        <pc:picChg chg="add mod">
          <ac:chgData name="Mauricio Pena" userId="e8c94f7e-bc6e-4c95-ac94-d3ff72f76780" providerId="ADAL" clId="{204B67DF-D4CC-4CCA-8628-1A20B9DC31F2}" dt="2024-01-31T16:19:22.761" v="702" actId="14826"/>
          <ac:picMkLst>
            <pc:docMk/>
            <pc:sldMk cId="1851828799" sldId="2532"/>
            <ac:picMk id="32" creationId="{E8FACC98-B86E-E729-86B5-39920A5AC99A}"/>
          </ac:picMkLst>
        </pc:picChg>
        <pc:picChg chg="add mod">
          <ac:chgData name="Mauricio Pena" userId="e8c94f7e-bc6e-4c95-ac94-d3ff72f76780" providerId="ADAL" clId="{204B67DF-D4CC-4CCA-8628-1A20B9DC31F2}" dt="2024-01-31T16:19:22.761" v="702" actId="14826"/>
          <ac:picMkLst>
            <pc:docMk/>
            <pc:sldMk cId="1851828799" sldId="2532"/>
            <ac:picMk id="33" creationId="{7ADA0FBC-DEA7-A77C-70FD-041D1BD07C1E}"/>
          </ac:picMkLst>
        </pc:picChg>
        <pc:picChg chg="del mod">
          <ac:chgData name="Mauricio Pena" userId="e8c94f7e-bc6e-4c95-ac94-d3ff72f76780" providerId="ADAL" clId="{204B67DF-D4CC-4CCA-8628-1A20B9DC31F2}" dt="2024-01-31T16:00:01.921" v="622" actId="478"/>
          <ac:picMkLst>
            <pc:docMk/>
            <pc:sldMk cId="1851828799" sldId="2532"/>
            <ac:picMk id="108" creationId="{6F5BE68D-4A64-416A-BC4A-77425D374F3D}"/>
          </ac:picMkLst>
        </pc:picChg>
        <pc:picChg chg="del mod">
          <ac:chgData name="Mauricio Pena" userId="e8c94f7e-bc6e-4c95-ac94-d3ff72f76780" providerId="ADAL" clId="{204B67DF-D4CC-4CCA-8628-1A20B9DC31F2}" dt="2024-01-31T16:00:02.794" v="623" actId="478"/>
          <ac:picMkLst>
            <pc:docMk/>
            <pc:sldMk cId="1851828799" sldId="2532"/>
            <ac:picMk id="109" creationId="{4CF713F9-618F-46E0-BBA5-8C15CB461D37}"/>
          </ac:picMkLst>
        </pc:picChg>
        <pc:picChg chg="del">
          <ac:chgData name="Mauricio Pena" userId="e8c94f7e-bc6e-4c95-ac94-d3ff72f76780" providerId="ADAL" clId="{204B67DF-D4CC-4CCA-8628-1A20B9DC31F2}" dt="2024-01-31T15:52:25.059" v="580" actId="21"/>
          <ac:picMkLst>
            <pc:docMk/>
            <pc:sldMk cId="1851828799" sldId="2532"/>
            <ac:picMk id="111" creationId="{EEC9B30A-1D3B-4E3B-8F1C-C54EC0F9CF4D}"/>
          </ac:picMkLst>
        </pc:picChg>
        <pc:cxnChg chg="add mod">
          <ac:chgData name="Mauricio Pena" userId="e8c94f7e-bc6e-4c95-ac94-d3ff72f76780" providerId="ADAL" clId="{204B67DF-D4CC-4CCA-8628-1A20B9DC31F2}" dt="2024-01-31T16:19:22.761" v="702" actId="14826"/>
          <ac:cxnSpMkLst>
            <pc:docMk/>
            <pc:sldMk cId="1851828799" sldId="2532"/>
            <ac:cxnSpMk id="29" creationId="{7E4E947E-4057-EBC5-B445-7AA2F989CD5B}"/>
          </ac:cxnSpMkLst>
        </pc:cxnChg>
        <pc:cxnChg chg="add del mod topLvl">
          <ac:chgData name="Mauricio Pena" userId="e8c94f7e-bc6e-4c95-ac94-d3ff72f76780" providerId="ADAL" clId="{204B67DF-D4CC-4CCA-8628-1A20B9DC31F2}" dt="2024-01-31T15:55:55.786" v="593" actId="478"/>
          <ac:cxnSpMkLst>
            <pc:docMk/>
            <pc:sldMk cId="1851828799" sldId="2532"/>
            <ac:cxnSpMk id="61" creationId="{CF325144-0920-4C28-B175-22E182C0E139}"/>
          </ac:cxnSpMkLst>
        </pc:cxnChg>
        <pc:cxnChg chg="add del mod topLvl">
          <ac:chgData name="Mauricio Pena" userId="e8c94f7e-bc6e-4c95-ac94-d3ff72f76780" providerId="ADAL" clId="{204B67DF-D4CC-4CCA-8628-1A20B9DC31F2}" dt="2024-01-31T16:19:22.761" v="702" actId="14826"/>
          <ac:cxnSpMkLst>
            <pc:docMk/>
            <pc:sldMk cId="1851828799" sldId="2532"/>
            <ac:cxnSpMk id="62" creationId="{2AD0081B-8449-462A-B4F5-2FA7BEF44EF7}"/>
          </ac:cxnSpMkLst>
        </pc:cxnChg>
        <pc:cxnChg chg="add del mod topLvl">
          <ac:chgData name="Mauricio Pena" userId="e8c94f7e-bc6e-4c95-ac94-d3ff72f76780" providerId="ADAL" clId="{204B67DF-D4CC-4CCA-8628-1A20B9DC31F2}" dt="2024-01-31T16:19:22.761" v="702" actId="14826"/>
          <ac:cxnSpMkLst>
            <pc:docMk/>
            <pc:sldMk cId="1851828799" sldId="2532"/>
            <ac:cxnSpMk id="63" creationId="{DF3B4036-43C9-4925-B1FE-8DC524B9EF41}"/>
          </ac:cxnSpMkLst>
        </pc:cxnChg>
        <pc:cxnChg chg="mod">
          <ac:chgData name="Mauricio Pena" userId="e8c94f7e-bc6e-4c95-ac94-d3ff72f76780" providerId="ADAL" clId="{204B67DF-D4CC-4CCA-8628-1A20B9DC31F2}" dt="2024-01-31T15:58:58.719" v="602" actId="1076"/>
          <ac:cxnSpMkLst>
            <pc:docMk/>
            <pc:sldMk cId="1851828799" sldId="2532"/>
            <ac:cxnSpMk id="65" creationId="{C73B6F68-B092-4FDF-BCC0-2500EBD28810}"/>
          </ac:cxnSpMkLst>
        </pc:cxnChg>
      </pc:sldChg>
      <pc:sldChg chg="addSp delSp modSp add mod">
        <pc:chgData name="Mauricio Pena" userId="e8c94f7e-bc6e-4c95-ac94-d3ff72f76780" providerId="ADAL" clId="{204B67DF-D4CC-4CCA-8628-1A20B9DC31F2}" dt="2024-01-31T15:46:36.017" v="505" actId="404"/>
        <pc:sldMkLst>
          <pc:docMk/>
          <pc:sldMk cId="1783933109" sldId="2533"/>
        </pc:sldMkLst>
        <pc:spChg chg="del">
          <ac:chgData name="Mauricio Pena" userId="e8c94f7e-bc6e-4c95-ac94-d3ff72f76780" providerId="ADAL" clId="{204B67DF-D4CC-4CCA-8628-1A20B9DC31F2}" dt="2024-01-31T12:18:18.982" v="13" actId="478"/>
          <ac:spMkLst>
            <pc:docMk/>
            <pc:sldMk cId="1783933109" sldId="2533"/>
            <ac:spMk id="3" creationId="{4082350C-0FD7-2CF3-676D-D04D446761D9}"/>
          </ac:spMkLst>
        </pc:spChg>
        <pc:spChg chg="add del mod topLvl">
          <ac:chgData name="Mauricio Pena" userId="e8c94f7e-bc6e-4c95-ac94-d3ff72f76780" providerId="ADAL" clId="{204B67DF-D4CC-4CCA-8628-1A20B9DC31F2}" dt="2024-01-31T15:19:17.440" v="454" actId="478"/>
          <ac:spMkLst>
            <pc:docMk/>
            <pc:sldMk cId="1783933109" sldId="2533"/>
            <ac:spMk id="3" creationId="{CAC981F9-E6F0-E191-0D82-1F29C817284E}"/>
          </ac:spMkLst>
        </pc:spChg>
        <pc:spChg chg="mod">
          <ac:chgData name="Mauricio Pena" userId="e8c94f7e-bc6e-4c95-ac94-d3ff72f76780" providerId="ADAL" clId="{204B67DF-D4CC-4CCA-8628-1A20B9DC31F2}" dt="2024-01-31T15:46:36.017" v="505" actId="404"/>
          <ac:spMkLst>
            <pc:docMk/>
            <pc:sldMk cId="1783933109" sldId="2533"/>
            <ac:spMk id="4" creationId="{B7DA9801-0835-4143-95FD-E14093FEC971}"/>
          </ac:spMkLst>
        </pc:spChg>
        <pc:spChg chg="del">
          <ac:chgData name="Mauricio Pena" userId="e8c94f7e-bc6e-4c95-ac94-d3ff72f76780" providerId="ADAL" clId="{204B67DF-D4CC-4CCA-8628-1A20B9DC31F2}" dt="2024-01-31T12:18:36.001" v="17" actId="478"/>
          <ac:spMkLst>
            <pc:docMk/>
            <pc:sldMk cId="1783933109" sldId="2533"/>
            <ac:spMk id="6" creationId="{A94A8A2F-4E2F-8D4C-F9C4-C176DF8B99A2}"/>
          </ac:spMkLst>
        </pc:spChg>
        <pc:spChg chg="add del mod topLvl">
          <ac:chgData name="Mauricio Pena" userId="e8c94f7e-bc6e-4c95-ac94-d3ff72f76780" providerId="ADAL" clId="{204B67DF-D4CC-4CCA-8628-1A20B9DC31F2}" dt="2024-01-31T15:19:20.527" v="456" actId="478"/>
          <ac:spMkLst>
            <pc:docMk/>
            <pc:sldMk cId="1783933109" sldId="2533"/>
            <ac:spMk id="8" creationId="{0982BF36-9029-979B-055F-F0E1921A3FA1}"/>
          </ac:spMkLst>
        </pc:spChg>
        <pc:spChg chg="add del mod topLvl">
          <ac:chgData name="Mauricio Pena" userId="e8c94f7e-bc6e-4c95-ac94-d3ff72f76780" providerId="ADAL" clId="{204B67DF-D4CC-4CCA-8628-1A20B9DC31F2}" dt="2024-01-31T15:19:22.017" v="457" actId="478"/>
          <ac:spMkLst>
            <pc:docMk/>
            <pc:sldMk cId="1783933109" sldId="2533"/>
            <ac:spMk id="9" creationId="{FBB78C03-87AC-9567-9E1B-9A320A858E69}"/>
          </ac:spMkLst>
        </pc:spChg>
        <pc:spChg chg="add del mod topLvl">
          <ac:chgData name="Mauricio Pena" userId="e8c94f7e-bc6e-4c95-ac94-d3ff72f76780" providerId="ADAL" clId="{204B67DF-D4CC-4CCA-8628-1A20B9DC31F2}" dt="2024-01-31T15:08:28.799" v="411" actId="165"/>
          <ac:spMkLst>
            <pc:docMk/>
            <pc:sldMk cId="1783933109" sldId="2533"/>
            <ac:spMk id="12" creationId="{FF931894-96AF-C06C-18EF-8BD5B025C910}"/>
          </ac:spMkLst>
        </pc:spChg>
        <pc:spChg chg="mod topLvl">
          <ac:chgData name="Mauricio Pena" userId="e8c94f7e-bc6e-4c95-ac94-d3ff72f76780" providerId="ADAL" clId="{204B67DF-D4CC-4CCA-8628-1A20B9DC31F2}" dt="2024-01-31T15:08:28.799" v="411" actId="165"/>
          <ac:spMkLst>
            <pc:docMk/>
            <pc:sldMk cId="1783933109" sldId="2533"/>
            <ac:spMk id="15" creationId="{7C3B7565-7A12-170E-D26F-B778D5ECF15B}"/>
          </ac:spMkLst>
        </pc:spChg>
        <pc:spChg chg="add mod">
          <ac:chgData name="Mauricio Pena" userId="e8c94f7e-bc6e-4c95-ac94-d3ff72f76780" providerId="ADAL" clId="{204B67DF-D4CC-4CCA-8628-1A20B9DC31F2}" dt="2024-01-31T15:19:52.051" v="458" actId="1076"/>
          <ac:spMkLst>
            <pc:docMk/>
            <pc:sldMk cId="1783933109" sldId="2533"/>
            <ac:spMk id="17" creationId="{FAD98466-7FC1-5CD7-22A4-433341BF13E1}"/>
          </ac:spMkLst>
        </pc:spChg>
        <pc:spChg chg="add mod">
          <ac:chgData name="Mauricio Pena" userId="e8c94f7e-bc6e-4c95-ac94-d3ff72f76780" providerId="ADAL" clId="{204B67DF-D4CC-4CCA-8628-1A20B9DC31F2}" dt="2024-01-31T15:19:52.051" v="458" actId="1076"/>
          <ac:spMkLst>
            <pc:docMk/>
            <pc:sldMk cId="1783933109" sldId="2533"/>
            <ac:spMk id="18" creationId="{58763C90-13CB-AB80-16C2-A58038B1F9F2}"/>
          </ac:spMkLst>
        </pc:spChg>
        <pc:spChg chg="del mod">
          <ac:chgData name="Mauricio Pena" userId="e8c94f7e-bc6e-4c95-ac94-d3ff72f76780" providerId="ADAL" clId="{204B67DF-D4CC-4CCA-8628-1A20B9DC31F2}" dt="2024-01-31T12:18:07.359" v="6" actId="478"/>
          <ac:spMkLst>
            <pc:docMk/>
            <pc:sldMk cId="1783933109" sldId="2533"/>
            <ac:spMk id="18" creationId="{BDFC4D65-77CB-3796-E5BF-DB322F6C6AE0}"/>
          </ac:spMkLst>
        </pc:spChg>
        <pc:spChg chg="add mod">
          <ac:chgData name="Mauricio Pena" userId="e8c94f7e-bc6e-4c95-ac94-d3ff72f76780" providerId="ADAL" clId="{204B67DF-D4CC-4CCA-8628-1A20B9DC31F2}" dt="2024-01-31T15:19:52.051" v="458" actId="1076"/>
          <ac:spMkLst>
            <pc:docMk/>
            <pc:sldMk cId="1783933109" sldId="2533"/>
            <ac:spMk id="19" creationId="{C0D25897-5719-5FF4-C8F9-168FCF94CD14}"/>
          </ac:spMkLst>
        </pc:spChg>
        <pc:spChg chg="del">
          <ac:chgData name="Mauricio Pena" userId="e8c94f7e-bc6e-4c95-ac94-d3ff72f76780" providerId="ADAL" clId="{204B67DF-D4CC-4CCA-8628-1A20B9DC31F2}" dt="2024-01-31T12:18:08.978" v="7" actId="478"/>
          <ac:spMkLst>
            <pc:docMk/>
            <pc:sldMk cId="1783933109" sldId="2533"/>
            <ac:spMk id="21" creationId="{62822967-1F89-2F4D-DCF0-11708A41A017}"/>
          </ac:spMkLst>
        </pc:spChg>
        <pc:spChg chg="del mod">
          <ac:chgData name="Mauricio Pena" userId="e8c94f7e-bc6e-4c95-ac94-d3ff72f76780" providerId="ADAL" clId="{204B67DF-D4CC-4CCA-8628-1A20B9DC31F2}" dt="2024-01-31T12:18:13.488" v="9" actId="478"/>
          <ac:spMkLst>
            <pc:docMk/>
            <pc:sldMk cId="1783933109" sldId="2533"/>
            <ac:spMk id="56" creationId="{925DB842-37D1-4115-97D2-20C87069CC34}"/>
          </ac:spMkLst>
        </pc:spChg>
        <pc:spChg chg="del">
          <ac:chgData name="Mauricio Pena" userId="e8c94f7e-bc6e-4c95-ac94-d3ff72f76780" providerId="ADAL" clId="{204B67DF-D4CC-4CCA-8628-1A20B9DC31F2}" dt="2024-01-31T12:18:45.879" v="22" actId="478"/>
          <ac:spMkLst>
            <pc:docMk/>
            <pc:sldMk cId="1783933109" sldId="2533"/>
            <ac:spMk id="57" creationId="{C2663665-9B22-4B68-82D7-634FD0D718E0}"/>
          </ac:spMkLst>
        </pc:spChg>
        <pc:spChg chg="mod topLvl">
          <ac:chgData name="Mauricio Pena" userId="e8c94f7e-bc6e-4c95-ac94-d3ff72f76780" providerId="ADAL" clId="{204B67DF-D4CC-4CCA-8628-1A20B9DC31F2}" dt="2024-01-31T15:08:28.799" v="411" actId="165"/>
          <ac:spMkLst>
            <pc:docMk/>
            <pc:sldMk cId="1783933109" sldId="2533"/>
            <ac:spMk id="58" creationId="{C3A9EE8E-EBC8-40E8-A7C4-EB5621D3DABC}"/>
          </ac:spMkLst>
        </pc:spChg>
        <pc:spChg chg="del mod">
          <ac:chgData name="Mauricio Pena" userId="e8c94f7e-bc6e-4c95-ac94-d3ff72f76780" providerId="ADAL" clId="{204B67DF-D4CC-4CCA-8628-1A20B9DC31F2}" dt="2024-01-31T12:18:03.664" v="3" actId="478"/>
          <ac:spMkLst>
            <pc:docMk/>
            <pc:sldMk cId="1783933109" sldId="2533"/>
            <ac:spMk id="59" creationId="{CBF42CAE-8FD1-403C-A71F-CA56A9EE0447}"/>
          </ac:spMkLst>
        </pc:spChg>
        <pc:spChg chg="del mod">
          <ac:chgData name="Mauricio Pena" userId="e8c94f7e-bc6e-4c95-ac94-d3ff72f76780" providerId="ADAL" clId="{204B67DF-D4CC-4CCA-8628-1A20B9DC31F2}" dt="2024-01-31T12:18:17.461" v="12" actId="478"/>
          <ac:spMkLst>
            <pc:docMk/>
            <pc:sldMk cId="1783933109" sldId="2533"/>
            <ac:spMk id="66" creationId="{3D831979-D07B-4422-BAC6-4B631015F64B}"/>
          </ac:spMkLst>
        </pc:spChg>
        <pc:spChg chg="mod">
          <ac:chgData name="Mauricio Pena" userId="e8c94f7e-bc6e-4c95-ac94-d3ff72f76780" providerId="ADAL" clId="{204B67DF-D4CC-4CCA-8628-1A20B9DC31F2}" dt="2024-01-31T15:01:32.869" v="379" actId="20577"/>
          <ac:spMkLst>
            <pc:docMk/>
            <pc:sldMk cId="1783933109" sldId="2533"/>
            <ac:spMk id="67" creationId="{46D81B90-49B1-4C90-A06B-94DEFC5BE405}"/>
          </ac:spMkLst>
        </pc:spChg>
        <pc:spChg chg="del mod">
          <ac:chgData name="Mauricio Pena" userId="e8c94f7e-bc6e-4c95-ac94-d3ff72f76780" providerId="ADAL" clId="{204B67DF-D4CC-4CCA-8628-1A20B9DC31F2}" dt="2024-01-31T12:18:34.197" v="16" actId="478"/>
          <ac:spMkLst>
            <pc:docMk/>
            <pc:sldMk cId="1783933109" sldId="2533"/>
            <ac:spMk id="68" creationId="{28AFF06C-A63A-4A40-A0DB-6AAE5F7CC0FB}"/>
          </ac:spMkLst>
        </pc:spChg>
        <pc:grpChg chg="add del mod">
          <ac:chgData name="Mauricio Pena" userId="e8c94f7e-bc6e-4c95-ac94-d3ff72f76780" providerId="ADAL" clId="{204B67DF-D4CC-4CCA-8628-1A20B9DC31F2}" dt="2024-01-31T15:08:28.799" v="411" actId="165"/>
          <ac:grpSpMkLst>
            <pc:docMk/>
            <pc:sldMk cId="1783933109" sldId="2533"/>
            <ac:grpSpMk id="14" creationId="{96A4E6E1-7F03-620B-783A-C96312A6F453}"/>
          </ac:grpSpMkLst>
        </pc:grpChg>
        <pc:grpChg chg="add del mod">
          <ac:chgData name="Mauricio Pena" userId="e8c94f7e-bc6e-4c95-ac94-d3ff72f76780" providerId="ADAL" clId="{204B67DF-D4CC-4CCA-8628-1A20B9DC31F2}" dt="2024-01-31T12:19:04.696" v="26" actId="478"/>
          <ac:grpSpMkLst>
            <pc:docMk/>
            <pc:sldMk cId="1783933109" sldId="2533"/>
            <ac:grpSpMk id="60" creationId="{58C77DFA-A2CA-45FD-9544-D45FCEFD5B0F}"/>
          </ac:grpSpMkLst>
        </pc:grpChg>
        <pc:picChg chg="add del mod topLvl">
          <ac:chgData name="Mauricio Pena" userId="e8c94f7e-bc6e-4c95-ac94-d3ff72f76780" providerId="ADAL" clId="{204B67DF-D4CC-4CCA-8628-1A20B9DC31F2}" dt="2024-01-31T15:09:57.569" v="424" actId="478"/>
          <ac:picMkLst>
            <pc:docMk/>
            <pc:sldMk cId="1783933109" sldId="2533"/>
            <ac:picMk id="6" creationId="{07DC503F-818F-9EB3-8614-F78629D173BB}"/>
          </ac:picMkLst>
        </pc:picChg>
        <pc:picChg chg="add del mod">
          <ac:chgData name="Mauricio Pena" userId="e8c94f7e-bc6e-4c95-ac94-d3ff72f76780" providerId="ADAL" clId="{204B67DF-D4CC-4CCA-8628-1A20B9DC31F2}" dt="2024-01-31T12:37:50.552" v="67" actId="478"/>
          <ac:picMkLst>
            <pc:docMk/>
            <pc:sldMk cId="1783933109" sldId="2533"/>
            <ac:picMk id="9" creationId="{41F428FE-6F1C-AF0E-84A3-ECB5F30C949F}"/>
          </ac:picMkLst>
        </pc:picChg>
        <pc:picChg chg="add mod topLvl">
          <ac:chgData name="Mauricio Pena" userId="e8c94f7e-bc6e-4c95-ac94-d3ff72f76780" providerId="ADAL" clId="{204B67DF-D4CC-4CCA-8628-1A20B9DC31F2}" dt="2024-01-31T15:08:28.799" v="411" actId="165"/>
          <ac:picMkLst>
            <pc:docMk/>
            <pc:sldMk cId="1783933109" sldId="2533"/>
            <ac:picMk id="10" creationId="{FFE1E134-CEF3-3E51-1E12-D7ECDD3C964D}"/>
          </ac:picMkLst>
        </pc:picChg>
        <pc:picChg chg="del">
          <ac:chgData name="Mauricio Pena" userId="e8c94f7e-bc6e-4c95-ac94-d3ff72f76780" providerId="ADAL" clId="{204B67DF-D4CC-4CCA-8628-1A20B9DC31F2}" dt="2024-01-31T12:18:04.961" v="4" actId="478"/>
          <ac:picMkLst>
            <pc:docMk/>
            <pc:sldMk cId="1783933109" sldId="2533"/>
            <ac:picMk id="16" creationId="{76A51D55-D933-2E5B-46F5-15BDEABC45C6}"/>
          </ac:picMkLst>
        </pc:picChg>
        <pc:picChg chg="add del mod">
          <ac:chgData name="Mauricio Pena" userId="e8c94f7e-bc6e-4c95-ac94-d3ff72f76780" providerId="ADAL" clId="{204B67DF-D4CC-4CCA-8628-1A20B9DC31F2}" dt="2024-01-31T15:19:18.399" v="455" actId="478"/>
          <ac:picMkLst>
            <pc:docMk/>
            <pc:sldMk cId="1783933109" sldId="2533"/>
            <ac:picMk id="16" creationId="{FBE22AA6-20E7-0540-9C3F-5A978FFA986E}"/>
          </ac:picMkLst>
        </pc:picChg>
        <pc:picChg chg="add mod">
          <ac:chgData name="Mauricio Pena" userId="e8c94f7e-bc6e-4c95-ac94-d3ff72f76780" providerId="ADAL" clId="{204B67DF-D4CC-4CCA-8628-1A20B9DC31F2}" dt="2024-01-31T15:19:52.051" v="458" actId="1076"/>
          <ac:picMkLst>
            <pc:docMk/>
            <pc:sldMk cId="1783933109" sldId="2533"/>
            <ac:picMk id="20" creationId="{4798C14A-10ED-0FC7-CEEC-42C5178135F3}"/>
          </ac:picMkLst>
        </pc:picChg>
        <pc:picChg chg="del">
          <ac:chgData name="Mauricio Pena" userId="e8c94f7e-bc6e-4c95-ac94-d3ff72f76780" providerId="ADAL" clId="{204B67DF-D4CC-4CCA-8628-1A20B9DC31F2}" dt="2024-01-31T12:18:14.581" v="10" actId="478"/>
          <ac:picMkLst>
            <pc:docMk/>
            <pc:sldMk cId="1783933109" sldId="2533"/>
            <ac:picMk id="106" creationId="{0E29B963-F830-446A-B2C0-681D351380EE}"/>
          </ac:picMkLst>
        </pc:picChg>
        <pc:picChg chg="del">
          <ac:chgData name="Mauricio Pena" userId="e8c94f7e-bc6e-4c95-ac94-d3ff72f76780" providerId="ADAL" clId="{204B67DF-D4CC-4CCA-8628-1A20B9DC31F2}" dt="2024-01-31T12:18:31.442" v="14" actId="478"/>
          <ac:picMkLst>
            <pc:docMk/>
            <pc:sldMk cId="1783933109" sldId="2533"/>
            <ac:picMk id="108" creationId="{6F5BE68D-4A64-416A-BC4A-77425D374F3D}"/>
          </ac:picMkLst>
        </pc:picChg>
        <pc:cxnChg chg="add mod topLvl">
          <ac:chgData name="Mauricio Pena" userId="e8c94f7e-bc6e-4c95-ac94-d3ff72f76780" providerId="ADAL" clId="{204B67DF-D4CC-4CCA-8628-1A20B9DC31F2}" dt="2024-01-31T15:19:58.673" v="460" actId="1038"/>
          <ac:cxnSpMkLst>
            <pc:docMk/>
            <pc:sldMk cId="1783933109" sldId="2533"/>
            <ac:cxnSpMk id="11" creationId="{90EB27E6-D271-CC68-15B5-FE1261EBFD3D}"/>
          </ac:cxnSpMkLst>
        </pc:cxnChg>
      </pc:sldChg>
      <pc:sldChg chg="addSp delSp modSp add mod">
        <pc:chgData name="Mauricio Pena" userId="e8c94f7e-bc6e-4c95-ac94-d3ff72f76780" providerId="ADAL" clId="{204B67DF-D4CC-4CCA-8628-1A20B9DC31F2}" dt="2024-02-01T08:20:56.677" v="727" actId="165"/>
        <pc:sldMkLst>
          <pc:docMk/>
          <pc:sldMk cId="2591856956" sldId="2534"/>
        </pc:sldMkLst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3" creationId="{4082350C-0FD7-2CF3-676D-D04D446761D9}"/>
          </ac:spMkLst>
        </pc:spChg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6" creationId="{A94A8A2F-4E2F-8D4C-F9C4-C176DF8B99A2}"/>
          </ac:spMkLst>
        </pc:spChg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8" creationId="{4596D989-D6E9-2D7D-441B-79C05215E694}"/>
          </ac:spMkLst>
        </pc:spChg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10" creationId="{28913F2D-D848-07FD-AD0C-3B413DC90E4E}"/>
          </ac:spMkLst>
        </pc:spChg>
        <pc:spChg chg="add del mod">
          <ac:chgData name="Mauricio Pena" userId="e8c94f7e-bc6e-4c95-ac94-d3ff72f76780" providerId="ADAL" clId="{204B67DF-D4CC-4CCA-8628-1A20B9DC31F2}" dt="2024-01-31T16:04:57.169" v="640" actId="21"/>
          <ac:spMkLst>
            <pc:docMk/>
            <pc:sldMk cId="2591856956" sldId="2534"/>
            <ac:spMk id="11" creationId="{CDF81200-2E9B-7C4D-FA7C-1E8B6EE943D3}"/>
          </ac:spMkLst>
        </pc:spChg>
        <pc:spChg chg="add mod topLvl">
          <ac:chgData name="Mauricio Pena" userId="e8c94f7e-bc6e-4c95-ac94-d3ff72f76780" providerId="ADAL" clId="{204B67DF-D4CC-4CCA-8628-1A20B9DC31F2}" dt="2024-02-01T08:20:56.677" v="727" actId="165"/>
          <ac:spMkLst>
            <pc:docMk/>
            <pc:sldMk cId="2591856956" sldId="2534"/>
            <ac:spMk id="12" creationId="{E79B28BD-E3A4-B6DA-B3F6-8C7F287151B8}"/>
          </ac:spMkLst>
        </pc:spChg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13" creationId="{8AD4082F-7CB5-2DDE-7136-17A23FD233DC}"/>
          </ac:spMkLst>
        </pc:spChg>
        <pc:spChg chg="add mod topLvl">
          <ac:chgData name="Mauricio Pena" userId="e8c94f7e-bc6e-4c95-ac94-d3ff72f76780" providerId="ADAL" clId="{204B67DF-D4CC-4CCA-8628-1A20B9DC31F2}" dt="2024-02-01T08:20:56.677" v="727" actId="165"/>
          <ac:spMkLst>
            <pc:docMk/>
            <pc:sldMk cId="2591856956" sldId="2534"/>
            <ac:spMk id="15" creationId="{A9D110EA-4C69-87E7-FC40-C6F81D6E51BE}"/>
          </ac:spMkLst>
        </pc:spChg>
        <pc:spChg chg="add del mod">
          <ac:chgData name="Mauricio Pena" userId="e8c94f7e-bc6e-4c95-ac94-d3ff72f76780" providerId="ADAL" clId="{204B67DF-D4CC-4CCA-8628-1A20B9DC31F2}" dt="2024-01-31T16:04:57.169" v="640" actId="21"/>
          <ac:spMkLst>
            <pc:docMk/>
            <pc:sldMk cId="2591856956" sldId="2534"/>
            <ac:spMk id="17" creationId="{A10100AF-AD63-1AF0-7917-35ECE9660BF1}"/>
          </ac:spMkLst>
        </pc:spChg>
        <pc:spChg chg="add mod topLvl">
          <ac:chgData name="Mauricio Pena" userId="e8c94f7e-bc6e-4c95-ac94-d3ff72f76780" providerId="ADAL" clId="{204B67DF-D4CC-4CCA-8628-1A20B9DC31F2}" dt="2024-02-01T08:20:56.677" v="727" actId="165"/>
          <ac:spMkLst>
            <pc:docMk/>
            <pc:sldMk cId="2591856956" sldId="2534"/>
            <ac:spMk id="18" creationId="{57A8175D-7C54-3698-05BE-B07C9008340E}"/>
          </ac:spMkLst>
        </pc:spChg>
        <pc:spChg chg="add del mod">
          <ac:chgData name="Mauricio Pena" userId="e8c94f7e-bc6e-4c95-ac94-d3ff72f76780" providerId="ADAL" clId="{204B67DF-D4CC-4CCA-8628-1A20B9DC31F2}" dt="2024-01-31T16:04:57.169" v="640" actId="21"/>
          <ac:spMkLst>
            <pc:docMk/>
            <pc:sldMk cId="2591856956" sldId="2534"/>
            <ac:spMk id="20" creationId="{CF0D00ED-472C-D771-C8DE-ADA1CE2CF2AD}"/>
          </ac:spMkLst>
        </pc:spChg>
        <pc:spChg chg="add mod topLvl">
          <ac:chgData name="Mauricio Pena" userId="e8c94f7e-bc6e-4c95-ac94-d3ff72f76780" providerId="ADAL" clId="{204B67DF-D4CC-4CCA-8628-1A20B9DC31F2}" dt="2024-02-01T08:20:56.677" v="727" actId="165"/>
          <ac:spMkLst>
            <pc:docMk/>
            <pc:sldMk cId="2591856956" sldId="2534"/>
            <ac:spMk id="21" creationId="{AA191E3F-AC2F-A672-F3CF-284FAC88305E}"/>
          </ac:spMkLst>
        </pc:spChg>
        <pc:spChg chg="add mod topLvl">
          <ac:chgData name="Mauricio Pena" userId="e8c94f7e-bc6e-4c95-ac94-d3ff72f76780" providerId="ADAL" clId="{204B67DF-D4CC-4CCA-8628-1A20B9DC31F2}" dt="2024-02-01T08:20:56.677" v="727" actId="165"/>
          <ac:spMkLst>
            <pc:docMk/>
            <pc:sldMk cId="2591856956" sldId="2534"/>
            <ac:spMk id="22" creationId="{AF12A637-BA0F-27C6-085A-C174D5DD2A24}"/>
          </ac:spMkLst>
        </pc:spChg>
        <pc:spChg chg="add mod topLvl">
          <ac:chgData name="Mauricio Pena" userId="e8c94f7e-bc6e-4c95-ac94-d3ff72f76780" providerId="ADAL" clId="{204B67DF-D4CC-4CCA-8628-1A20B9DC31F2}" dt="2024-02-01T08:20:56.677" v="727" actId="165"/>
          <ac:spMkLst>
            <pc:docMk/>
            <pc:sldMk cId="2591856956" sldId="2534"/>
            <ac:spMk id="23" creationId="{B7B4008F-4958-9784-DFFF-0D970D416768}"/>
          </ac:spMkLst>
        </pc:spChg>
        <pc:spChg chg="add mod topLvl">
          <ac:chgData name="Mauricio Pena" userId="e8c94f7e-bc6e-4c95-ac94-d3ff72f76780" providerId="ADAL" clId="{204B67DF-D4CC-4CCA-8628-1A20B9DC31F2}" dt="2024-02-01T08:20:56.677" v="727" actId="165"/>
          <ac:spMkLst>
            <pc:docMk/>
            <pc:sldMk cId="2591856956" sldId="2534"/>
            <ac:spMk id="24" creationId="{6FF4F2D9-7E3F-08B8-81DE-424E67F6E298}"/>
          </ac:spMkLst>
        </pc:spChg>
        <pc:spChg chg="add mod topLvl">
          <ac:chgData name="Mauricio Pena" userId="e8c94f7e-bc6e-4c95-ac94-d3ff72f76780" providerId="ADAL" clId="{204B67DF-D4CC-4CCA-8628-1A20B9DC31F2}" dt="2024-02-01T08:20:56.677" v="727" actId="165"/>
          <ac:spMkLst>
            <pc:docMk/>
            <pc:sldMk cId="2591856956" sldId="2534"/>
            <ac:spMk id="27" creationId="{9B1D3A09-DB10-D9FE-D962-6A016072358F}"/>
          </ac:spMkLst>
        </pc:spChg>
        <pc:spChg chg="add mod topLvl">
          <ac:chgData name="Mauricio Pena" userId="e8c94f7e-bc6e-4c95-ac94-d3ff72f76780" providerId="ADAL" clId="{204B67DF-D4CC-4CCA-8628-1A20B9DC31F2}" dt="2024-02-01T08:20:56.677" v="727" actId="165"/>
          <ac:spMkLst>
            <pc:docMk/>
            <pc:sldMk cId="2591856956" sldId="2534"/>
            <ac:spMk id="28" creationId="{DD176A40-A087-F57D-96E1-7C072F1302BC}"/>
          </ac:spMkLst>
        </pc:spChg>
        <pc:spChg chg="mod">
          <ac:chgData name="Mauricio Pena" userId="e8c94f7e-bc6e-4c95-ac94-d3ff72f76780" providerId="ADAL" clId="{204B67DF-D4CC-4CCA-8628-1A20B9DC31F2}" dt="2024-01-31T16:08:32.307" v="665" actId="1036"/>
          <ac:spMkLst>
            <pc:docMk/>
            <pc:sldMk cId="2591856956" sldId="2534"/>
            <ac:spMk id="55" creationId="{0E5F264E-2CAF-4C07-A85D-E09E87C41E19}"/>
          </ac:spMkLst>
        </pc:spChg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56" creationId="{925DB842-37D1-4115-97D2-20C87069CC34}"/>
          </ac:spMkLst>
        </pc:spChg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57" creationId="{C2663665-9B22-4B68-82D7-634FD0D718E0}"/>
          </ac:spMkLst>
        </pc:spChg>
        <pc:spChg chg="del">
          <ac:chgData name="Mauricio Pena" userId="e8c94f7e-bc6e-4c95-ac94-d3ff72f76780" providerId="ADAL" clId="{204B67DF-D4CC-4CCA-8628-1A20B9DC31F2}" dt="2024-01-31T15:52:30.658" v="581" actId="478"/>
          <ac:spMkLst>
            <pc:docMk/>
            <pc:sldMk cId="2591856956" sldId="2534"/>
            <ac:spMk id="58" creationId="{C3A9EE8E-EBC8-40E8-A7C4-EB5621D3DABC}"/>
          </ac:spMkLst>
        </pc:spChg>
        <pc:spChg chg="del">
          <ac:chgData name="Mauricio Pena" userId="e8c94f7e-bc6e-4c95-ac94-d3ff72f76780" providerId="ADAL" clId="{204B67DF-D4CC-4CCA-8628-1A20B9DC31F2}" dt="2024-01-31T15:52:31.583" v="582" actId="478"/>
          <ac:spMkLst>
            <pc:docMk/>
            <pc:sldMk cId="2591856956" sldId="2534"/>
            <ac:spMk id="59" creationId="{CBF42CAE-8FD1-403C-A71F-CA56A9EE0447}"/>
          </ac:spMkLst>
        </pc:spChg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68" creationId="{28AFF06C-A63A-4A40-A0DB-6AAE5F7CC0FB}"/>
          </ac:spMkLst>
        </pc:spChg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84" creationId="{258D11DF-8BF5-4555-A8BE-C65DF9D11B9D}"/>
          </ac:spMkLst>
        </pc:spChg>
        <pc:spChg chg="del">
          <ac:chgData name="Mauricio Pena" userId="e8c94f7e-bc6e-4c95-ac94-d3ff72f76780" providerId="ADAL" clId="{204B67DF-D4CC-4CCA-8628-1A20B9DC31F2}" dt="2024-01-31T15:50:39.580" v="577" actId="478"/>
          <ac:spMkLst>
            <pc:docMk/>
            <pc:sldMk cId="2591856956" sldId="2534"/>
            <ac:spMk id="85" creationId="{72C6BD19-160C-4ACA-B9DC-77A71A6E3198}"/>
          </ac:spMkLst>
        </pc:spChg>
        <pc:grpChg chg="add del mod">
          <ac:chgData name="Mauricio Pena" userId="e8c94f7e-bc6e-4c95-ac94-d3ff72f76780" providerId="ADAL" clId="{204B67DF-D4CC-4CCA-8628-1A20B9DC31F2}" dt="2024-02-01T08:20:56.677" v="727" actId="165"/>
          <ac:grpSpMkLst>
            <pc:docMk/>
            <pc:sldMk cId="2591856956" sldId="2534"/>
            <ac:grpSpMk id="33" creationId="{738737FE-6C56-D7B5-95CA-B61865D98442}"/>
          </ac:grpSpMkLst>
        </pc:grpChg>
        <pc:grpChg chg="del">
          <ac:chgData name="Mauricio Pena" userId="e8c94f7e-bc6e-4c95-ac94-d3ff72f76780" providerId="ADAL" clId="{204B67DF-D4CC-4CCA-8628-1A20B9DC31F2}" dt="2024-01-31T16:05:26.135" v="642" actId="165"/>
          <ac:grpSpMkLst>
            <pc:docMk/>
            <pc:sldMk cId="2591856956" sldId="2534"/>
            <ac:grpSpMk id="60" creationId="{58C77DFA-A2CA-45FD-9544-D45FCEFD5B0F}"/>
          </ac:grpSpMkLst>
        </pc:grpChg>
        <pc:picChg chg="del">
          <ac:chgData name="Mauricio Pena" userId="e8c94f7e-bc6e-4c95-ac94-d3ff72f76780" providerId="ADAL" clId="{204B67DF-D4CC-4CCA-8628-1A20B9DC31F2}" dt="2024-01-31T15:50:39.580" v="577" actId="478"/>
          <ac:picMkLst>
            <pc:docMk/>
            <pc:sldMk cId="2591856956" sldId="2534"/>
            <ac:picMk id="9" creationId="{0573C45A-CEB8-9B00-5A5A-E5CA0C4171E5}"/>
          </ac:picMkLst>
        </pc:picChg>
        <pc:picChg chg="add del mod">
          <ac:chgData name="Mauricio Pena" userId="e8c94f7e-bc6e-4c95-ac94-d3ff72f76780" providerId="ADAL" clId="{204B67DF-D4CC-4CCA-8628-1A20B9DC31F2}" dt="2024-01-31T16:08:53.973" v="671" actId="478"/>
          <ac:picMkLst>
            <pc:docMk/>
            <pc:sldMk cId="2591856956" sldId="2534"/>
            <ac:picMk id="16" creationId="{498A3DFF-8563-92B9-0863-C5BE46903913}"/>
          </ac:picMkLst>
        </pc:picChg>
        <pc:picChg chg="add del mod">
          <ac:chgData name="Mauricio Pena" userId="e8c94f7e-bc6e-4c95-ac94-d3ff72f76780" providerId="ADAL" clId="{204B67DF-D4CC-4CCA-8628-1A20B9DC31F2}" dt="2024-01-31T16:04:57.169" v="640" actId="21"/>
          <ac:picMkLst>
            <pc:docMk/>
            <pc:sldMk cId="2591856956" sldId="2534"/>
            <ac:picMk id="19" creationId="{140F1918-0444-89D8-7DDF-3CF9721638BD}"/>
          </ac:picMkLst>
        </pc:picChg>
        <pc:picChg chg="add del mod">
          <ac:chgData name="Mauricio Pena" userId="e8c94f7e-bc6e-4c95-ac94-d3ff72f76780" providerId="ADAL" clId="{204B67DF-D4CC-4CCA-8628-1A20B9DC31F2}" dt="2024-01-31T16:08:53.147" v="670" actId="478"/>
          <ac:picMkLst>
            <pc:docMk/>
            <pc:sldMk cId="2591856956" sldId="2534"/>
            <ac:picMk id="25" creationId="{267820A4-833F-671F-C90E-94E7AAC3A1C8}"/>
          </ac:picMkLst>
        </pc:picChg>
        <pc:picChg chg="add del mod">
          <ac:chgData name="Mauricio Pena" userId="e8c94f7e-bc6e-4c95-ac94-d3ff72f76780" providerId="ADAL" clId="{204B67DF-D4CC-4CCA-8628-1A20B9DC31F2}" dt="2024-01-31T16:08:52.271" v="669" actId="478"/>
          <ac:picMkLst>
            <pc:docMk/>
            <pc:sldMk cId="2591856956" sldId="2534"/>
            <ac:picMk id="26" creationId="{321537B4-EBA1-DB24-8842-7CB8A2C6CFB8}"/>
          </ac:picMkLst>
        </pc:picChg>
        <pc:picChg chg="add mod topLvl">
          <ac:chgData name="Mauricio Pena" userId="e8c94f7e-bc6e-4c95-ac94-d3ff72f76780" providerId="ADAL" clId="{204B67DF-D4CC-4CCA-8628-1A20B9DC31F2}" dt="2024-02-01T08:20:56.677" v="727" actId="165"/>
          <ac:picMkLst>
            <pc:docMk/>
            <pc:sldMk cId="2591856956" sldId="2534"/>
            <ac:picMk id="30" creationId="{125E1916-E5F9-6868-CC2B-4B26111092C6}"/>
          </ac:picMkLst>
        </pc:picChg>
        <pc:picChg chg="add mod topLvl">
          <ac:chgData name="Mauricio Pena" userId="e8c94f7e-bc6e-4c95-ac94-d3ff72f76780" providerId="ADAL" clId="{204B67DF-D4CC-4CCA-8628-1A20B9DC31F2}" dt="2024-02-01T08:20:56.677" v="727" actId="165"/>
          <ac:picMkLst>
            <pc:docMk/>
            <pc:sldMk cId="2591856956" sldId="2534"/>
            <ac:picMk id="31" creationId="{2105EE2B-B406-D984-F99E-866FAEF95EE3}"/>
          </ac:picMkLst>
        </pc:picChg>
        <pc:picChg chg="add mod topLvl">
          <ac:chgData name="Mauricio Pena" userId="e8c94f7e-bc6e-4c95-ac94-d3ff72f76780" providerId="ADAL" clId="{204B67DF-D4CC-4CCA-8628-1A20B9DC31F2}" dt="2024-02-01T08:20:56.677" v="727" actId="165"/>
          <ac:picMkLst>
            <pc:docMk/>
            <pc:sldMk cId="2591856956" sldId="2534"/>
            <ac:picMk id="32" creationId="{7ABD9601-5B6F-FD17-1873-EFBD6C8B883D}"/>
          </ac:picMkLst>
        </pc:picChg>
        <pc:picChg chg="del">
          <ac:chgData name="Mauricio Pena" userId="e8c94f7e-bc6e-4c95-ac94-d3ff72f76780" providerId="ADAL" clId="{204B67DF-D4CC-4CCA-8628-1A20B9DC31F2}" dt="2024-01-31T15:50:39.580" v="577" actId="478"/>
          <ac:picMkLst>
            <pc:docMk/>
            <pc:sldMk cId="2591856956" sldId="2534"/>
            <ac:picMk id="108" creationId="{6F5BE68D-4A64-416A-BC4A-77425D374F3D}"/>
          </ac:picMkLst>
        </pc:picChg>
        <pc:picChg chg="del">
          <ac:chgData name="Mauricio Pena" userId="e8c94f7e-bc6e-4c95-ac94-d3ff72f76780" providerId="ADAL" clId="{204B67DF-D4CC-4CCA-8628-1A20B9DC31F2}" dt="2024-01-31T15:50:39.580" v="577" actId="478"/>
          <ac:picMkLst>
            <pc:docMk/>
            <pc:sldMk cId="2591856956" sldId="2534"/>
            <ac:picMk id="109" creationId="{4CF713F9-618F-46E0-BBA5-8C15CB461D37}"/>
          </ac:picMkLst>
        </pc:picChg>
        <pc:picChg chg="del">
          <ac:chgData name="Mauricio Pena" userId="e8c94f7e-bc6e-4c95-ac94-d3ff72f76780" providerId="ADAL" clId="{204B67DF-D4CC-4CCA-8628-1A20B9DC31F2}" dt="2024-01-31T15:50:39.580" v="577" actId="478"/>
          <ac:picMkLst>
            <pc:docMk/>
            <pc:sldMk cId="2591856956" sldId="2534"/>
            <ac:picMk id="111" creationId="{EEC9B30A-1D3B-4E3B-8F1C-C54EC0F9CF4D}"/>
          </ac:picMkLst>
        </pc:picChg>
        <pc:cxnChg chg="add mod topLvl">
          <ac:chgData name="Mauricio Pena" userId="e8c94f7e-bc6e-4c95-ac94-d3ff72f76780" providerId="ADAL" clId="{204B67DF-D4CC-4CCA-8628-1A20B9DC31F2}" dt="2024-02-01T08:20:56.677" v="727" actId="165"/>
          <ac:cxnSpMkLst>
            <pc:docMk/>
            <pc:sldMk cId="2591856956" sldId="2534"/>
            <ac:cxnSpMk id="29" creationId="{93D4F0F8-C78C-E64C-924B-41CA897B1C9E}"/>
          </ac:cxnSpMkLst>
        </pc:cxnChg>
        <pc:cxnChg chg="del mod topLvl">
          <ac:chgData name="Mauricio Pena" userId="e8c94f7e-bc6e-4c95-ac94-d3ff72f76780" providerId="ADAL" clId="{204B67DF-D4CC-4CCA-8628-1A20B9DC31F2}" dt="2024-01-31T16:05:53.225" v="644" actId="478"/>
          <ac:cxnSpMkLst>
            <pc:docMk/>
            <pc:sldMk cId="2591856956" sldId="2534"/>
            <ac:cxnSpMk id="61" creationId="{CF325144-0920-4C28-B175-22E182C0E139}"/>
          </ac:cxnSpMkLst>
        </pc:cxnChg>
        <pc:cxnChg chg="del mod topLvl">
          <ac:chgData name="Mauricio Pena" userId="e8c94f7e-bc6e-4c95-ac94-d3ff72f76780" providerId="ADAL" clId="{204B67DF-D4CC-4CCA-8628-1A20B9DC31F2}" dt="2024-01-31T16:05:54.639" v="645" actId="478"/>
          <ac:cxnSpMkLst>
            <pc:docMk/>
            <pc:sldMk cId="2591856956" sldId="2534"/>
            <ac:cxnSpMk id="62" creationId="{2AD0081B-8449-462A-B4F5-2FA7BEF44EF7}"/>
          </ac:cxnSpMkLst>
        </pc:cxnChg>
        <pc:cxnChg chg="mod topLvl">
          <ac:chgData name="Mauricio Pena" userId="e8c94f7e-bc6e-4c95-ac94-d3ff72f76780" providerId="ADAL" clId="{204B67DF-D4CC-4CCA-8628-1A20B9DC31F2}" dt="2024-02-01T08:20:56.677" v="727" actId="165"/>
          <ac:cxnSpMkLst>
            <pc:docMk/>
            <pc:sldMk cId="2591856956" sldId="2534"/>
            <ac:cxnSpMk id="63" creationId="{DF3B4036-43C9-4925-B1FE-8DC524B9EF41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79CF668-8A71-4852-B1C6-189A428EC9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DE33A9-3A4C-4003-BEF3-5C633B9F32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6BDC053-37CC-451C-B25E-536C9D181DBA}" type="datetimeFigureOut">
              <a:rPr lang="en-GB"/>
              <a:pPr>
                <a:defRPr/>
              </a:pPr>
              <a:t>05/02/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9C9659-80CA-4A8F-8B39-4245EF82818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602B3B-96BB-4053-91CC-1BD6127DFDF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5CD9755-2BB0-4E14-97AB-C7DBD5FDDFF0}" type="slidenum">
              <a:rPr lang="en-GB" altLang="de-DE"/>
              <a:pPr/>
              <a:t>‹Nº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D7AEBDE-3559-4B5B-8FD3-76938AE153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E90CD32-1133-485E-9225-52699F5364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80844B-102C-45A5-8C4D-58AAC96BDA2E}" type="datetimeFigureOut">
              <a:rPr lang="en-US"/>
              <a:pPr>
                <a:defRPr/>
              </a:pPr>
              <a:t>2/5/2024</a:t>
            </a:fld>
            <a:endParaRPr lang="en-US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6B6E98B9-DA66-46F0-B128-9F4C2FFF27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1F8BECA9-60B4-45C9-9AAD-05E73D3546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DCC354-FDD6-478D-B31D-9B08A12A3E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E93CAD-1AA5-44AE-811D-394E06E9E5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A01542E-203C-4324-AAF3-23D55ACB5D19}" type="slidenum">
              <a:rPr lang="en-US" altLang="de-DE"/>
              <a:pPr/>
              <a:t>‹Nº›</a:t>
            </a:fld>
            <a:endParaRPr lang="en-US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08478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41122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89452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633084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31979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319612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94495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794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1F4AC709-4F2D-400E-8D2E-9DA64FA32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288000" y="195263"/>
            <a:ext cx="8607600" cy="1998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2276101"/>
            <a:ext cx="8607600" cy="40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>
                <a:latin typeface="Calibri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2697300"/>
            <a:ext cx="86076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358534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D906BE9-F254-4010-A5AD-733AB56EB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8007B4-88CA-4B0A-98BF-68A68AFF1B7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EEB76BC-CFBD-4BD8-9E61-2A167581F3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 marL="1630362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6pPr>
            <a:lvl7pPr marL="1898650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7pPr>
            <a:lvl8pPr marL="2168525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8pPr>
            <a:lvl9pPr marL="2436813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545398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7C77C3-FD33-467C-9319-9337B7B5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20E23E-1514-4362-A0F3-53FF836B82E3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5AB328A-AE37-4509-9FC5-5147B28C6B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>
              <a:buClr>
                <a:schemeClr val="bg1"/>
              </a:buClr>
              <a:defRPr/>
            </a:lvl6pPr>
            <a:lvl7pPr>
              <a:buClr>
                <a:schemeClr val="bg1"/>
              </a:buClr>
              <a:defRPr/>
            </a:lvl7pPr>
            <a:lvl8pPr>
              <a:buClr>
                <a:schemeClr val="bg1"/>
              </a:buClr>
              <a:defRPr/>
            </a:lvl8pPr>
            <a:lvl9pPr>
              <a:buClr>
                <a:schemeClr val="bg1"/>
              </a:buCl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411716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2310"/>
          </a:xfrm>
          <a:prstGeom prst="rect">
            <a:avLst/>
          </a:prstGeom>
        </p:spPr>
        <p:txBody>
          <a:bodyPr rIns="0"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3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52759"/>
            <a:ext cx="8604000" cy="13501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9506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287337" y="915988"/>
            <a:ext cx="4213226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18"/>
          </p:nvPr>
        </p:nvSpPr>
        <p:spPr>
          <a:xfrm>
            <a:off x="4679951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50753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4AC2757-4953-BFA0-5346-43D2F2F794C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1C77C9D4-BDCB-78B1-696A-4B45350DF76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4679952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4679949" y="2859087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712300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1AF75EC-1BFC-EC31-D1A2-9899BE531CC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7274123F-33CC-177C-F2FC-D882814E180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1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9DE1919C-9D33-3029-1325-2A1EFD35CD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3">
            <a:extLst>
              <a:ext uri="{FF2B5EF4-FFF2-40B4-BE49-F238E27FC236}">
                <a16:creationId xmlns:a16="http://schemas.microsoft.com/office/drawing/2014/main" id="{7FFAECDA-34C8-186D-500A-359D24BB23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79949" y="2859088"/>
            <a:ext cx="4212530" cy="171053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8912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horizontal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7EBFD3CE-66E8-4D85-4C1D-FEE3708BA2B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A59C584C-8161-2AAB-131C-5A06800DC5D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2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1304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4" y="915988"/>
            <a:ext cx="4212468" cy="36539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6"/>
          </p:nvPr>
        </p:nvSpPr>
        <p:spPr>
          <a:xfrm>
            <a:off x="4680012" y="915988"/>
            <a:ext cx="4210050" cy="36537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4530288-53EE-4AD5-BD86-D9355ACD64A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B79FD21F-8BA3-4A63-B886-0B5317CA334F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192676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3"/>
          <p:cNvSpPr>
            <a:spLocks noGrp="1"/>
          </p:cNvSpPr>
          <p:nvPr>
            <p:ph sz="quarter" idx="19"/>
          </p:nvPr>
        </p:nvSpPr>
        <p:spPr>
          <a:xfrm>
            <a:off x="287521" y="915520"/>
            <a:ext cx="2015941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quarter" idx="26"/>
          </p:nvPr>
        </p:nvSpPr>
        <p:spPr>
          <a:xfrm>
            <a:off x="2484885" y="915988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Inhaltsplatzhalter 3"/>
          <p:cNvSpPr>
            <a:spLocks noGrp="1"/>
          </p:cNvSpPr>
          <p:nvPr>
            <p:ph sz="quarter" idx="27"/>
          </p:nvPr>
        </p:nvSpPr>
        <p:spPr>
          <a:xfrm>
            <a:off x="4680520" y="915520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Inhaltsplatzhalter 3"/>
          <p:cNvSpPr>
            <a:spLocks noGrp="1"/>
          </p:cNvSpPr>
          <p:nvPr>
            <p:ph sz="quarter" idx="28"/>
          </p:nvPr>
        </p:nvSpPr>
        <p:spPr>
          <a:xfrm>
            <a:off x="6877050" y="915520"/>
            <a:ext cx="2016125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23976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0AB4D4D4-D0F6-0DC7-7FBB-9EB7509C5A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87521" y="915519"/>
            <a:ext cx="2015941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1E827F77-E3D8-9C1F-6FCD-8E55B7A5EE7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484885" y="915988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E42C4BA7-01D1-1434-0872-A9B3DBF4C3E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80520" y="915520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0" name="Bildplatzhalter 5">
            <a:extLst>
              <a:ext uri="{FF2B5EF4-FFF2-40B4-BE49-F238E27FC236}">
                <a16:creationId xmlns:a16="http://schemas.microsoft.com/office/drawing/2014/main" id="{BC4949FA-109D-12FB-D3E5-A70DBD3C8C1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877050" y="915520"/>
            <a:ext cx="2016125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5147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2FC30D2F-5EF7-4932-8B7C-1BD7A35F9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288000" y="195262"/>
            <a:ext cx="8604000" cy="2970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3253500"/>
            <a:ext cx="8604000" cy="39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8104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49216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A89E5FD-8F46-17EE-70DE-E7CA699C6B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609815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75310"/>
            <a:ext cx="8605837" cy="322106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  <p:sp>
        <p:nvSpPr>
          <p:cNvPr id="3" name="Foliennummernplatzhalter 5" hidden="1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Grau">
            <a:extLst>
              <a:ext uri="{FF2B5EF4-FFF2-40B4-BE49-F238E27FC236}">
                <a16:creationId xmlns:a16="http://schemas.microsoft.com/office/drawing/2014/main" id="{80C2016B-2893-1155-0FA0-EDB765A844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482366"/>
            <a:ext cx="8605837" cy="322106"/>
          </a:xfr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lang="de-CH" sz="2400" kern="1200" cap="all" dirty="0">
                <a:solidFill>
                  <a:srgbClr val="7C7C7C"/>
                </a:solidFill>
                <a:latin typeface="+mj-lt"/>
                <a:ea typeface="+mj-ea"/>
                <a:cs typeface="+mj-cs"/>
              </a:defRPr>
            </a:lvl1pPr>
            <a:lvl2pPr marL="261938" indent="0">
              <a:buNone/>
              <a:defRPr sz="1100"/>
            </a:lvl2pPr>
            <a:lvl3pPr marL="534988" indent="0">
              <a:buFont typeface="Arial" panose="020B0604020202020204" pitchFamily="34" charset="0"/>
              <a:buNone/>
              <a:defRPr sz="1100"/>
            </a:lvl3pPr>
            <a:lvl4pPr marL="809625" indent="0">
              <a:buNone/>
              <a:defRPr sz="1100"/>
            </a:lvl4pPr>
            <a:lvl5pPr marL="1062038" indent="0">
              <a:buNone/>
              <a:defRPr sz="1100"/>
            </a:lvl5pPr>
          </a:lstStyle>
          <a:p>
            <a:pPr lvl="0"/>
            <a:r>
              <a:rPr lang="de-DE" err="1"/>
              <a:t>click</a:t>
            </a:r>
            <a:r>
              <a:rPr lang="de-DE"/>
              <a:t> to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mast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8210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3" y="915989"/>
            <a:ext cx="6408552" cy="36536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2"/>
          </p:nvPr>
        </p:nvSpPr>
        <p:spPr>
          <a:xfrm>
            <a:off x="6877051" y="915988"/>
            <a:ext cx="2016125" cy="3653631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400" kern="100" baseline="0">
                <a:latin typeface="+mn-lt"/>
              </a:defRPr>
            </a:lvl1pPr>
            <a:lvl2pPr marL="36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2pPr>
            <a:lvl3pPr marL="54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3pPr>
            <a:lvl4pPr marL="72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tabLst/>
              <a:defRPr sz="1400" kern="100">
                <a:latin typeface="+mn-lt"/>
              </a:defRPr>
            </a:lvl4pPr>
            <a:lvl5pPr marL="900000" indent="-180000">
              <a:lnSpc>
                <a:spcPct val="90000"/>
              </a:lnSpc>
              <a:spcBef>
                <a:spcPts val="336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latin typeface="+mn-lt"/>
              </a:defRPr>
            </a:lvl5pPr>
            <a:lvl6pPr marL="1077913" indent="-180975">
              <a:lnSpc>
                <a:spcPct val="90000"/>
              </a:lnSpc>
              <a:spcBef>
                <a:spcPts val="336"/>
              </a:spcBef>
              <a:defRPr sz="1400"/>
            </a:lvl6pPr>
            <a:lvl7pPr marL="1260000" indent="-180000">
              <a:lnSpc>
                <a:spcPct val="90000"/>
              </a:lnSpc>
              <a:spcBef>
                <a:spcPts val="336"/>
              </a:spcBef>
              <a:defRPr sz="1400"/>
            </a:lvl7pPr>
            <a:lvl8pPr marL="1440000" indent="-180000">
              <a:lnSpc>
                <a:spcPct val="90000"/>
              </a:lnSpc>
              <a:spcBef>
                <a:spcPts val="336"/>
              </a:spcBef>
              <a:defRPr sz="1400"/>
            </a:lvl8pPr>
            <a:lvl9pPr marL="1620000" indent="-180000">
              <a:lnSpc>
                <a:spcPct val="90000"/>
              </a:lnSpc>
              <a:spcBef>
                <a:spcPts val="336"/>
              </a:spcBef>
              <a:defRPr sz="1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138EDF98-F6A4-46CB-ACED-EF77DC747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01587BC-9F1E-477B-A10E-5A02507F9F94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31C289D-604B-2CB6-CD46-8A45907E12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8288"/>
            <a:ext cx="8605837" cy="523875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71762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CC041923-6713-43A3-8590-9A95951A4E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3775" y="4433888"/>
            <a:ext cx="15494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Bildplatzhalter 5"/>
          <p:cNvSpPr>
            <a:spLocks noGrp="1"/>
          </p:cNvSpPr>
          <p:nvPr>
            <p:ph type="pic" sz="quarter" idx="12"/>
          </p:nvPr>
        </p:nvSpPr>
        <p:spPr>
          <a:xfrm>
            <a:off x="286134" y="195486"/>
            <a:ext cx="8606346" cy="1998222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87524" y="2281861"/>
            <a:ext cx="8604956" cy="3780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DE" sz="3200" cap="all" smtClean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157899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-alignm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4182B5-CB76-4E5A-B79A-4A928B16382F}"/>
              </a:ext>
            </a:extLst>
          </p:cNvPr>
          <p:cNvCxnSpPr/>
          <p:nvPr/>
        </p:nvCxnSpPr>
        <p:spPr>
          <a:xfrm>
            <a:off x="0" y="192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4E7DFE7-5F74-41F0-8242-5B7DCB3CBA94}"/>
              </a:ext>
            </a:extLst>
          </p:cNvPr>
          <p:cNvCxnSpPr/>
          <p:nvPr/>
        </p:nvCxnSpPr>
        <p:spPr>
          <a:xfrm>
            <a:off x="0" y="9874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50290C-05B0-4D13-BDC6-39F6805B660A}"/>
              </a:ext>
            </a:extLst>
          </p:cNvPr>
          <p:cNvCxnSpPr/>
          <p:nvPr/>
        </p:nvCxnSpPr>
        <p:spPr>
          <a:xfrm>
            <a:off x="0" y="45688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FEAE61-8CD6-442F-AEBB-E974B7F3E716}"/>
              </a:ext>
            </a:extLst>
          </p:cNvPr>
          <p:cNvCxnSpPr/>
          <p:nvPr/>
        </p:nvCxnSpPr>
        <p:spPr>
          <a:xfrm>
            <a:off x="0" y="4946650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0D95B4-5DB5-40B6-8416-6B8197210007}"/>
              </a:ext>
            </a:extLst>
          </p:cNvPr>
          <p:cNvCxnSpPr/>
          <p:nvPr/>
        </p:nvCxnSpPr>
        <p:spPr>
          <a:xfrm>
            <a:off x="2857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553841-2EBD-43CC-8C44-AAFCD69A07C4}"/>
              </a:ext>
            </a:extLst>
          </p:cNvPr>
          <p:cNvCxnSpPr/>
          <p:nvPr/>
        </p:nvCxnSpPr>
        <p:spPr>
          <a:xfrm>
            <a:off x="23018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D01AF-CEBA-4EFC-B6D3-A24325E75304}"/>
              </a:ext>
            </a:extLst>
          </p:cNvPr>
          <p:cNvCxnSpPr/>
          <p:nvPr/>
        </p:nvCxnSpPr>
        <p:spPr>
          <a:xfrm>
            <a:off x="248443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5CD035-DE4F-4847-8524-DF4B88A8050B}"/>
              </a:ext>
            </a:extLst>
          </p:cNvPr>
          <p:cNvCxnSpPr/>
          <p:nvPr/>
        </p:nvCxnSpPr>
        <p:spPr>
          <a:xfrm>
            <a:off x="44989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5B5BA6-95C8-498C-A9FC-049E13D60EF9}"/>
              </a:ext>
            </a:extLst>
          </p:cNvPr>
          <p:cNvCxnSpPr/>
          <p:nvPr/>
        </p:nvCxnSpPr>
        <p:spPr>
          <a:xfrm>
            <a:off x="46799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B50295-5304-4A78-8E8B-B5BF098A1FB0}"/>
              </a:ext>
            </a:extLst>
          </p:cNvPr>
          <p:cNvCxnSpPr/>
          <p:nvPr/>
        </p:nvCxnSpPr>
        <p:spPr>
          <a:xfrm>
            <a:off x="66944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6BB3D1-04AB-4F31-B5D3-706140051EB8}"/>
              </a:ext>
            </a:extLst>
          </p:cNvPr>
          <p:cNvCxnSpPr/>
          <p:nvPr/>
        </p:nvCxnSpPr>
        <p:spPr>
          <a:xfrm>
            <a:off x="6875463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888B6E1-605A-4B36-A160-55E0304586B6}"/>
              </a:ext>
            </a:extLst>
          </p:cNvPr>
          <p:cNvCxnSpPr/>
          <p:nvPr/>
        </p:nvCxnSpPr>
        <p:spPr>
          <a:xfrm>
            <a:off x="88915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DA1A0F6-CA7B-450B-A9B4-C9D4201A5483}"/>
              </a:ext>
            </a:extLst>
          </p:cNvPr>
          <p:cNvSpPr/>
          <p:nvPr/>
        </p:nvSpPr>
        <p:spPr>
          <a:xfrm rot="20415216">
            <a:off x="1103778" y="912100"/>
            <a:ext cx="6498895" cy="31700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his layout is to help you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re-align the guidelin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according to the </a:t>
            </a:r>
            <a:r>
              <a:rPr lang="en-US" sz="4000" b="1" err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Sika</a:t>
            </a: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 grid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ip: Adjust the guideli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in maximum zoomed-in view!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F319AF-1500-4E17-8181-3974C0BED33D}"/>
              </a:ext>
            </a:extLst>
          </p:cNvPr>
          <p:cNvCxnSpPr/>
          <p:nvPr/>
        </p:nvCxnSpPr>
        <p:spPr>
          <a:xfrm>
            <a:off x="0" y="700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854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9E8EB93B-68C6-424A-BDDA-57F11FD6A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14871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FF8839E8-6956-4A90-9CAA-58865BA05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2002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sz="quarter" idx="11"/>
          </p:nvPr>
        </p:nvSpPr>
        <p:spPr>
          <a:xfrm>
            <a:off x="287338" y="1518632"/>
            <a:ext cx="8605142" cy="30509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-457200">
              <a:lnSpc>
                <a:spcPct val="90000"/>
              </a:lnSpc>
              <a:spcBef>
                <a:spcPts val="0"/>
              </a:spcBef>
              <a:buClrTx/>
              <a:buFont typeface="Wingdings" charset="2"/>
              <a:buAutoNum type="arabicPlain"/>
              <a:tabLst>
                <a:tab pos="5207000" algn="r"/>
                <a:tab pos="6369050" algn="r"/>
              </a:tabLst>
              <a:defRPr sz="1800" b="1" i="0" kern="100" cap="all" baseline="0"/>
            </a:lvl1pPr>
            <a:lvl2pPr marL="742950" indent="-285750">
              <a:buClr>
                <a:srgbClr val="EFB900"/>
              </a:buClr>
              <a:buFont typeface="Wingdings" pitchFamily="2" charset="2"/>
              <a:buChar char="§"/>
              <a:defRPr sz="2000"/>
            </a:lvl2pPr>
            <a:lvl3pPr marL="1143000" indent="-228600">
              <a:buClr>
                <a:srgbClr val="EFB900"/>
              </a:buClr>
              <a:buFont typeface="Wingdings" pitchFamily="2" charset="2"/>
              <a:buChar char="§"/>
              <a:defRPr sz="2000"/>
            </a:lvl3pPr>
            <a:lvl4pPr marL="1600200" indent="-228600">
              <a:buClr>
                <a:srgbClr val="EFB900"/>
              </a:buClr>
              <a:buFont typeface="Wingdings" pitchFamily="2" charset="2"/>
              <a:buChar char="§"/>
              <a:defRPr sz="2000"/>
            </a:lvl4pPr>
            <a:lvl5pPr marL="2057400" indent="-228600">
              <a:buClr>
                <a:srgbClr val="EFB900"/>
              </a:buClr>
              <a:buFont typeface="Wingdings" pitchFamily="2" charset="2"/>
              <a:buChar char="§"/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C10E82C7-818E-4011-B4A1-69F589770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C711AF-E905-4983-8248-7DD19E492DE7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949593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82C432C4-F03A-9354-DBB7-A30BF067F3A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7338" y="915988"/>
            <a:ext cx="8605837" cy="36544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280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4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5C9B2F54-7B5E-309F-F6A6-17BB441280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5F56939B-100C-7693-6068-68FBFF18F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4290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 bo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525135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07123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473838-C16B-4E17-A0F1-1B5870DFF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340930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473838-C16B-4E17-A0F1-1B5870DF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6681E4-E79E-4A0D-A116-71C4BB4EC4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2D88AF61-FBC3-4425-A3CE-A66A643DA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338" y="4921250"/>
            <a:ext cx="323850" cy="80963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fld id="{FF8603F1-E04A-4D9F-8205-676DC5DF1FE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2C99677-474A-4ACD-90AE-A6FF3B5A0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8288"/>
            <a:ext cx="8605837" cy="5238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28" name="Text Placeholder 8">
            <a:extLst>
              <a:ext uri="{FF2B5EF4-FFF2-40B4-BE49-F238E27FC236}">
                <a16:creationId xmlns:a16="http://schemas.microsoft.com/office/drawing/2014/main" id="{25A545CC-1060-4A71-8EC8-CA610031286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87338" y="915988"/>
            <a:ext cx="8605837" cy="365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Mastertextformat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de-CH" altLang="en-US"/>
          </a:p>
        </p:txBody>
      </p:sp>
      <p:pic>
        <p:nvPicPr>
          <p:cNvPr id="1029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61725E52-18CA-4630-9CEC-3376C352E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213" y="4613275"/>
            <a:ext cx="12239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C6BA838-7AE6-5263-34BF-EB7404234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7" r:id="rId2"/>
    <p:sldLayoutId id="2147484019" r:id="rId3"/>
    <p:sldLayoutId id="2147484020" r:id="rId4"/>
    <p:sldLayoutId id="2147484009" r:id="rId5"/>
    <p:sldLayoutId id="2147484064" r:id="rId6"/>
    <p:sldLayoutId id="2147484021" r:id="rId7"/>
    <p:sldLayoutId id="2147484060" r:id="rId8"/>
    <p:sldLayoutId id="2147484059" r:id="rId9"/>
    <p:sldLayoutId id="2147484022" r:id="rId10"/>
    <p:sldLayoutId id="2147484023" r:id="rId11"/>
    <p:sldLayoutId id="2147484024" r:id="rId12"/>
    <p:sldLayoutId id="2147484010" r:id="rId13"/>
    <p:sldLayoutId id="2147484067" r:id="rId14"/>
    <p:sldLayoutId id="2147484066" r:id="rId15"/>
    <p:sldLayoutId id="2147484063" r:id="rId16"/>
    <p:sldLayoutId id="2147484011" r:id="rId17"/>
    <p:sldLayoutId id="2147484012" r:id="rId18"/>
    <p:sldLayoutId id="2147484065" r:id="rId19"/>
    <p:sldLayoutId id="2147484013" r:id="rId20"/>
    <p:sldLayoutId id="2147484062" r:id="rId21"/>
    <p:sldLayoutId id="2147484014" r:id="rId22"/>
    <p:sldLayoutId id="2147484025" r:id="rId23"/>
    <p:sldLayoutId id="2147484027" r:id="rId24"/>
  </p:sldLayoutIdLst>
  <p:hf hd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9pPr>
    </p:titleStyle>
    <p:bodyStyle>
      <a:lvl1pPr marL="269875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318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319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82775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51063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20938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" Target="slide3.xml"/><Relationship Id="rId1" Type="http://schemas.openxmlformats.org/officeDocument/2006/relationships/slideLayout" Target="../slideLayouts/slideLayout5.xml"/><Relationship Id="rId5" Type="http://schemas.openxmlformats.org/officeDocument/2006/relationships/slide" Target="slide7.xml"/><Relationship Id="rId4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g"/><Relationship Id="rId5" Type="http://schemas.openxmlformats.org/officeDocument/2006/relationships/image" Target="../media/image12.png"/><Relationship Id="rId4" Type="http://schemas.openxmlformats.org/officeDocument/2006/relationships/image" Target="../media/image1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g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7">
            <a:extLst>
              <a:ext uri="{FF2B5EF4-FFF2-40B4-BE49-F238E27FC236}">
                <a16:creationId xmlns:a16="http://schemas.microsoft.com/office/drawing/2014/main" id="{A5CC6D39-1ECB-F645-1AFE-2F0C03041A9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91" b="26991"/>
          <a:stretch/>
        </p:blipFill>
        <p:spPr>
          <a:xfrm>
            <a:off x="288000" y="194659"/>
            <a:ext cx="8631630" cy="2979076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565701-498B-4BA6-9AF2-C14C63DAE2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IGITALIZACIÓN: TM PAVIMENTOS</a:t>
            </a:r>
          </a:p>
          <a:p>
            <a:endParaRPr lang="en-US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6F9B195-5252-4190-852F-7CD19B5DE0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399601"/>
          </a:xfrm>
        </p:spPr>
        <p:txBody>
          <a:bodyPr/>
          <a:lstStyle/>
          <a:p>
            <a:r>
              <a:rPr lang="en-GB"/>
              <a:t>SIKA S.A.U. ESPAÑA 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72F36DA5-2921-8668-88B4-7B2CEBE3E63F}"/>
              </a:ext>
            </a:extLst>
          </p:cNvPr>
          <p:cNvSpPr txBox="1">
            <a:spLocks/>
          </p:cNvSpPr>
          <p:nvPr/>
        </p:nvSpPr>
        <p:spPr bwMode="auto">
          <a:xfrm>
            <a:off x="288000" y="4028930"/>
            <a:ext cx="6516688" cy="399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000" kern="1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Enero</a:t>
            </a:r>
            <a:r>
              <a:rPr lang="en-GB" dirty="0"/>
              <a:t> 2024 </a:t>
            </a:r>
          </a:p>
        </p:txBody>
      </p:sp>
      <p:pic>
        <p:nvPicPr>
          <p:cNvPr id="5" name="Imagen 4" descr="Imagen que contiene foto, vista, grande, pantalla&#10;&#10;Descripción generada automáticamente">
            <a:extLst>
              <a:ext uri="{FF2B5EF4-FFF2-40B4-BE49-F238E27FC236}">
                <a16:creationId xmlns:a16="http://schemas.microsoft.com/office/drawing/2014/main" id="{7AB10B69-0BF6-4CD0-21B3-3C4B36822BD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9945" y="2700381"/>
            <a:ext cx="1103466" cy="553119"/>
          </a:xfrm>
          <a:prstGeom prst="rect">
            <a:avLst/>
          </a:prstGeom>
          <a:solidFill>
            <a:schemeClr val="accent1"/>
          </a:solidFill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CE3648-8753-4528-81B2-38C8DA48DA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9521" y="224461"/>
            <a:ext cx="8604956" cy="378098"/>
          </a:xfrm>
        </p:spPr>
        <p:txBody>
          <a:bodyPr/>
          <a:lstStyle/>
          <a:p>
            <a:r>
              <a:rPr lang="en-US" sz="2400" dirty="0"/>
              <a:t>Catálogo objetos bim</a:t>
            </a:r>
            <a:endParaRPr lang="de-CH" sz="4000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D700072D-455F-4E99-810C-E17DD49CC238}"/>
              </a:ext>
            </a:extLst>
          </p:cNvPr>
          <p:cNvSpPr txBox="1">
            <a:spLocks/>
          </p:cNvSpPr>
          <p:nvPr/>
        </p:nvSpPr>
        <p:spPr>
          <a:xfrm>
            <a:off x="250639" y="2678318"/>
            <a:ext cx="8605837" cy="1349375"/>
          </a:xfrm>
          <a:prstGeom prst="rect">
            <a:avLst/>
          </a:prstGeom>
        </p:spPr>
        <p:txBody>
          <a:bodyPr rtlCol="0"/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/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>
              <a:ea typeface="ＭＳ Ｐゴシック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49B1DB3-ABE2-41EB-2AAD-57F4844462A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639" y="1026535"/>
            <a:ext cx="5554270" cy="370194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2A55244-6BBD-3CC0-ACDF-47D4610B081F}"/>
              </a:ext>
            </a:extLst>
          </p:cNvPr>
          <p:cNvSpPr txBox="1"/>
          <p:nvPr/>
        </p:nvSpPr>
        <p:spPr>
          <a:xfrm>
            <a:off x="176679" y="468793"/>
            <a:ext cx="8623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s-ES" sz="1600" dirty="0"/>
              <a:t>SIKA S.A.U. ESPAÑ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3201A4C-4FF8-B1E9-4152-31100A6505D0}"/>
              </a:ext>
            </a:extLst>
          </p:cNvPr>
          <p:cNvSpPr txBox="1"/>
          <p:nvPr/>
        </p:nvSpPr>
        <p:spPr>
          <a:xfrm>
            <a:off x="5912662" y="880229"/>
            <a:ext cx="285852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Para cualquier duda o aclaración puede contactar con: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b="1"/>
              <a:t>digitalizacion@es.sika.com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Dpto. Técnico - Digitalización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MADRID - 28108 Alcobendas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Calle Aragoneses 17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Tel. </a:t>
            </a:r>
            <a:r>
              <a:rPr lang="es-ES" sz="1400">
                <a:solidFill>
                  <a:srgbClr val="000000"/>
                </a:solidFill>
                <a:latin typeface="Klavika Light"/>
              </a:rPr>
              <a:t>916 57 23 75</a:t>
            </a:r>
            <a:endParaRPr lang="es-ES" sz="1400"/>
          </a:p>
        </p:txBody>
      </p:sp>
    </p:spTree>
    <p:extLst>
      <p:ext uri="{BB962C8B-B14F-4D97-AF65-F5344CB8AC3E}">
        <p14:creationId xmlns:p14="http://schemas.microsoft.com/office/powerpoint/2010/main" val="7716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4CC1436C-60D4-A07F-BC7A-FCF9A0633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82201"/>
            <a:ext cx="8605837" cy="523875"/>
          </a:xfrm>
        </p:spPr>
        <p:txBody>
          <a:bodyPr/>
          <a:lstStyle/>
          <a:p>
            <a:r>
              <a:rPr lang="es-ES" dirty="0"/>
              <a:t>ÍNDICE</a:t>
            </a:r>
          </a:p>
        </p:txBody>
      </p:sp>
      <p:grpSp>
        <p:nvGrpSpPr>
          <p:cNvPr id="9" name="Group 27">
            <a:extLst>
              <a:ext uri="{FF2B5EF4-FFF2-40B4-BE49-F238E27FC236}">
                <a16:creationId xmlns:a16="http://schemas.microsoft.com/office/drawing/2014/main" id="{30FAC716-C6EF-33E4-05BB-BF60E2EC8752}"/>
              </a:ext>
            </a:extLst>
          </p:cNvPr>
          <p:cNvGrpSpPr/>
          <p:nvPr/>
        </p:nvGrpSpPr>
        <p:grpSpPr>
          <a:xfrm>
            <a:off x="287338" y="789167"/>
            <a:ext cx="8306852" cy="467900"/>
            <a:chOff x="2266448" y="907154"/>
            <a:chExt cx="6467544" cy="467900"/>
          </a:xfrm>
        </p:grpSpPr>
        <p:sp>
          <p:nvSpPr>
            <p:cNvPr id="25" name="TextBox 43">
              <a:extLst>
                <a:ext uri="{FF2B5EF4-FFF2-40B4-BE49-F238E27FC236}">
                  <a16:creationId xmlns:a16="http://schemas.microsoft.com/office/drawing/2014/main" id="{A062EA1F-1652-3350-8E3E-B32E76B6904F}"/>
                </a:ext>
              </a:extLst>
            </p:cNvPr>
            <p:cNvSpPr txBox="1"/>
            <p:nvPr/>
          </p:nvSpPr>
          <p:spPr>
            <a:xfrm>
              <a:off x="2942792" y="1017994"/>
              <a:ext cx="5791200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latin typeface="+mn-lt"/>
                </a:rPr>
                <a:t>PAVIMENTOS				NÚMERO DE OBJETOS</a:t>
              </a:r>
            </a:p>
          </p:txBody>
        </p:sp>
        <p:sp>
          <p:nvSpPr>
            <p:cNvPr id="26" name="Rectangle 44">
              <a:extLst>
                <a:ext uri="{FF2B5EF4-FFF2-40B4-BE49-F238E27FC236}">
                  <a16:creationId xmlns:a16="http://schemas.microsoft.com/office/drawing/2014/main" id="{4E8542FD-7375-44DC-1029-5E8885FDE87D}"/>
                </a:ext>
              </a:extLst>
            </p:cNvPr>
            <p:cNvSpPr/>
            <p:nvPr/>
          </p:nvSpPr>
          <p:spPr>
            <a:xfrm>
              <a:off x="2266448" y="907154"/>
              <a:ext cx="524945" cy="467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01</a:t>
              </a:r>
              <a:endParaRPr lang="en-ID" b="1" dirty="0"/>
            </a:p>
          </p:txBody>
        </p:sp>
      </p:grpSp>
      <p:sp>
        <p:nvSpPr>
          <p:cNvPr id="30" name="CuadroTexto 29">
            <a:extLst>
              <a:ext uri="{FF2B5EF4-FFF2-40B4-BE49-F238E27FC236}">
                <a16:creationId xmlns:a16="http://schemas.microsoft.com/office/drawing/2014/main" id="{D7D58870-CD42-8214-D742-2C13690708D7}"/>
              </a:ext>
            </a:extLst>
          </p:cNvPr>
          <p:cNvSpPr txBox="1"/>
          <p:nvPr/>
        </p:nvSpPr>
        <p:spPr>
          <a:xfrm>
            <a:off x="549810" y="1257067"/>
            <a:ext cx="80443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1	</a:t>
            </a:r>
            <a:r>
              <a:rPr lang="es-ES" sz="1400" dirty="0">
                <a:hlinkClick r:id="rId2" action="ppaction://hlinksldjump"/>
              </a:rPr>
              <a:t>Gama </a:t>
            </a:r>
            <a:r>
              <a:rPr lang="es-ES" sz="1400" i="0" u="none" strike="noStrike" baseline="0" dirty="0">
                <a:hlinkClick r:id="rId2" action="ppaction://hlinksldjump"/>
              </a:rPr>
              <a:t>Sika </a:t>
            </a:r>
            <a:r>
              <a:rPr lang="es-ES" sz="1400" i="0" u="none" strike="noStrike" baseline="0" dirty="0" err="1">
                <a:hlinkClick r:id="rId2" action="ppaction://hlinksldjump"/>
              </a:rPr>
              <a:t>Comfortfloor</a:t>
            </a:r>
            <a:r>
              <a:rPr lang="es-ES" sz="1400" i="0" u="none" strike="noStrike" baseline="0" dirty="0">
                <a:hlinkClick r:id="rId2" action="ppaction://hlinksldjump"/>
              </a:rPr>
              <a:t>®</a:t>
            </a:r>
            <a:r>
              <a:rPr lang="es-ES" sz="1400" dirty="0"/>
              <a:t>					2</a:t>
            </a:r>
            <a:endParaRPr lang="es-ES" sz="140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2	</a:t>
            </a:r>
            <a:r>
              <a:rPr lang="es-ES" sz="1400" dirty="0">
                <a:hlinkClick r:id="rId3" action="ppaction://hlinksldjump"/>
              </a:rPr>
              <a:t>Gama </a:t>
            </a:r>
            <a:r>
              <a:rPr lang="es-ES" sz="1400" i="0" u="none" strike="noStrike" baseline="0" dirty="0">
                <a:hlinkClick r:id="rId3" action="ppaction://hlinksldjump"/>
              </a:rPr>
              <a:t>Sikafloor® </a:t>
            </a:r>
            <a:r>
              <a:rPr lang="es-ES" sz="1400" i="0" u="none" strike="noStrike" baseline="0" dirty="0" err="1">
                <a:hlinkClick r:id="rId3" action="ppaction://hlinksldjump"/>
              </a:rPr>
              <a:t>MultiDur</a:t>
            </a:r>
            <a:r>
              <a:rPr lang="es-ES" sz="1400" dirty="0"/>
              <a:t>				5</a:t>
            </a:r>
            <a:r>
              <a:rPr lang="es-ES" sz="1400" i="0" u="none" strike="noStrike" baseline="0" dirty="0"/>
              <a:t> </a:t>
            </a:r>
            <a:endParaRPr lang="es-ES" sz="140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3	</a:t>
            </a:r>
            <a:r>
              <a:rPr lang="es-ES" sz="1400" dirty="0">
                <a:hlinkClick r:id="rId4" action="ppaction://hlinksldjump"/>
              </a:rPr>
              <a:t>Gama </a:t>
            </a:r>
            <a:r>
              <a:rPr lang="es-ES" sz="1400" i="0" u="none" strike="noStrike" baseline="0" dirty="0">
                <a:hlinkClick r:id="rId4" action="ppaction://hlinksldjump"/>
              </a:rPr>
              <a:t>Sikafloor® </a:t>
            </a:r>
            <a:r>
              <a:rPr lang="es-ES" sz="1400" i="0" u="none" strike="noStrike" baseline="0" dirty="0" err="1">
                <a:hlinkClick r:id="rId4" action="ppaction://hlinksldjump"/>
              </a:rPr>
              <a:t>MultiFlex</a:t>
            </a:r>
            <a:r>
              <a:rPr lang="es-ES" sz="1400" dirty="0"/>
              <a:t>				3</a:t>
            </a:r>
            <a:endParaRPr lang="es-ES" sz="140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4	</a:t>
            </a:r>
            <a:r>
              <a:rPr lang="es-ES" sz="1400" dirty="0">
                <a:hlinkClick r:id="rId5" action="ppaction://hlinksldjump"/>
              </a:rPr>
              <a:t>Gama </a:t>
            </a:r>
            <a:r>
              <a:rPr lang="es-ES" sz="1400" i="0" u="none" strike="noStrike" baseline="0" dirty="0">
                <a:hlinkClick r:id="rId5" action="ppaction://hlinksldjump"/>
              </a:rPr>
              <a:t>Sikafloor® </a:t>
            </a:r>
            <a:r>
              <a:rPr lang="es-ES" sz="1400" i="0" u="none" strike="noStrike" baseline="0" dirty="0" err="1">
                <a:hlinkClick r:id="rId5" action="ppaction://hlinksldjump"/>
              </a:rPr>
              <a:t>PurCem</a:t>
            </a:r>
            <a:r>
              <a:rPr lang="es-ES" sz="1400" i="0" u="none" strike="noStrike" baseline="0" dirty="0">
                <a:hlinkClick r:id="rId5" action="ppaction://hlinksldjump"/>
              </a:rPr>
              <a:t>®</a:t>
            </a:r>
            <a:r>
              <a:rPr lang="es-ES" sz="1400" dirty="0"/>
              <a:t>				10</a:t>
            </a:r>
            <a:endParaRPr lang="es-ES" dirty="0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D4668FE0-1203-3935-727B-0FFDC991E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711AF-E905-4983-8248-7DD19E492DE7}" type="slidenum">
              <a:rPr lang="en-US" altLang="de-DE" smtClean="0"/>
              <a:pPr/>
              <a:t>2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506676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14256"/>
            <a:ext cx="8605837" cy="577908"/>
          </a:xfrm>
        </p:spPr>
        <p:txBody>
          <a:bodyPr/>
          <a:lstStyle/>
          <a:p>
            <a:r>
              <a:rPr lang="en-US" dirty="0" err="1"/>
              <a:t>Catálogo</a:t>
            </a:r>
            <a:r>
              <a:rPr lang="en-US" dirty="0"/>
              <a:t>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  <a:cs typeface="Calibri"/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2559191" y="1368155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>
                <a:latin typeface="Calibri" panose="020F0502020204030204" pitchFamily="34" charset="0"/>
              </a:rPr>
              <a:t>Sika Comfortfloor® PS-23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2663665-9B22-4B68-82D7-634FD0D718E0}"/>
              </a:ext>
            </a:extLst>
          </p:cNvPr>
          <p:cNvSpPr/>
          <p:nvPr/>
        </p:nvSpPr>
        <p:spPr>
          <a:xfrm>
            <a:off x="4645306" y="1365522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>
                <a:latin typeface="Calibri" panose="020F0502020204030204" pitchFamily="34" charset="0"/>
              </a:rPr>
              <a:t>Sika Comfortfloor® PS-65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2704816" y="3307632"/>
            <a:ext cx="1678258" cy="651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estimiento de pavimento base poliuretano sin juntas, liso, unicolor, elástico y con bajas emisiones VOC</a:t>
            </a:r>
            <a:endParaRPr lang="en-US" sz="90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599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Gama </a:t>
            </a:r>
            <a:r>
              <a:rPr lang="es-ES" b="1" dirty="0">
                <a:solidFill>
                  <a:schemeClr val="bg1"/>
                </a:solidFill>
              </a:rPr>
              <a:t>Sika Comfortfloor®</a:t>
            </a:r>
            <a:r>
              <a:rPr lang="en-US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8AFF06C-A63A-4A40-A0DB-6AAE5F7CC0FB}"/>
              </a:ext>
            </a:extLst>
          </p:cNvPr>
          <p:cNvSpPr txBox="1"/>
          <p:nvPr/>
        </p:nvSpPr>
        <p:spPr>
          <a:xfrm>
            <a:off x="4804361" y="3297266"/>
            <a:ext cx="1678258" cy="76944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/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estimiento de pavimento elástico a base de poliuretano liso, sin juntas, unicolor, con aislamiento acústico y de bajo contenido de VOC</a:t>
            </a:r>
            <a:endParaRPr lang="en-US" sz="900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2558318" y="4144222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8_PS_23</a:t>
            </a:r>
            <a:r>
              <a:rPr lang="es-ES" sz="1300" b="1"/>
              <a:t> </a:t>
            </a:r>
            <a:endParaRPr kumimoji="0" lang="es-ES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94A8A2F-4E2F-8D4C-F9C4-C176DF8B99A2}"/>
              </a:ext>
            </a:extLst>
          </p:cNvPr>
          <p:cNvSpPr txBox="1"/>
          <p:nvPr/>
        </p:nvSpPr>
        <p:spPr>
          <a:xfrm>
            <a:off x="4644433" y="4134448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8_PS_65</a:t>
            </a:r>
            <a:r>
              <a:rPr lang="es-ES" sz="1300" b="1"/>
              <a:t> </a:t>
            </a:r>
            <a:endParaRPr kumimoji="0" lang="es-ES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533167-ABEF-E4A3-FBF3-5058418F8E03}"/>
              </a:ext>
            </a:extLst>
          </p:cNvPr>
          <p:cNvSpPr txBox="1"/>
          <p:nvPr/>
        </p:nvSpPr>
        <p:spPr>
          <a:xfrm>
            <a:off x="8315772" y="640720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s-ES" sz="1050" dirty="0">
                <a:hlinkClick r:id="rId3" action="ppaction://hlinksldjump"/>
              </a:rPr>
              <a:t>ÍNDICE</a:t>
            </a:r>
            <a:endParaRPr lang="es-ES" sz="1050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E168066-909E-89FE-A3A0-91FF1A3B6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3</a:t>
            </a:fld>
            <a:r>
              <a:rPr lang="en-GB" altLang="de-DE"/>
              <a:t>  </a:t>
            </a:r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77C03213-BC74-721D-B1FF-4A10B6C7EDB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3072" y="4767263"/>
            <a:ext cx="7279733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8B599810-89F8-D2F3-0728-21700FE0EBCE}"/>
              </a:ext>
            </a:extLst>
          </p:cNvPr>
          <p:cNvCxnSpPr>
            <a:stCxn id="55" idx="0"/>
            <a:endCxn id="55" idx="0"/>
          </p:cNvCxnSpPr>
          <p:nvPr/>
        </p:nvCxnSpPr>
        <p:spPr>
          <a:xfrm>
            <a:off x="4587875" y="91598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61">
            <a:extLst>
              <a:ext uri="{FF2B5EF4-FFF2-40B4-BE49-F238E27FC236}">
                <a16:creationId xmlns:a16="http://schemas.microsoft.com/office/drawing/2014/main" id="{A36CDA6B-51D0-3F54-0598-F8744A936AA8}"/>
              </a:ext>
            </a:extLst>
          </p:cNvPr>
          <p:cNvCxnSpPr/>
          <p:nvPr/>
        </p:nvCxnSpPr>
        <p:spPr>
          <a:xfrm>
            <a:off x="4587874" y="1369919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id="{E1BC2873-3D93-15AE-0C81-00E21352C7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94097" y="2061829"/>
            <a:ext cx="1471921" cy="101984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92C0BFA1-1E04-0911-468F-A1792FED0F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98685" y="2061829"/>
            <a:ext cx="1492263" cy="101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821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  <a:cs typeface="Calibri"/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599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Gama </a:t>
            </a:r>
            <a:r>
              <a:rPr lang="es-ES" b="1" dirty="0" err="1">
                <a:solidFill>
                  <a:schemeClr val="bg1"/>
                </a:solidFill>
              </a:rPr>
              <a:t>Sikafloor</a:t>
            </a:r>
            <a:r>
              <a:rPr lang="es-ES" b="1" dirty="0">
                <a:solidFill>
                  <a:schemeClr val="bg1"/>
                </a:solidFill>
              </a:rPr>
              <a:t>® MultiDur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533167-ABEF-E4A3-FBF3-5058418F8E03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E168066-909E-89FE-A3A0-91FF1A3B6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4</a:t>
            </a:fld>
            <a:r>
              <a:rPr lang="en-GB" altLang="de-DE"/>
              <a:t>  </a:t>
            </a:r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77C03213-BC74-721D-B1FF-4A10B6C7EDB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3072" y="4767263"/>
            <a:ext cx="7279733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1471543" y="1371603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>
                <a:latin typeface="Calibri" panose="020F0502020204030204" pitchFamily="34" charset="0"/>
              </a:rPr>
              <a:t>Sikafloor® MultiDur ES-24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2663665-9B22-4B68-82D7-634FD0D718E0}"/>
              </a:ext>
            </a:extLst>
          </p:cNvPr>
          <p:cNvSpPr/>
          <p:nvPr/>
        </p:nvSpPr>
        <p:spPr>
          <a:xfrm>
            <a:off x="3566760" y="1374231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 err="1">
                <a:latin typeface="Calibri"/>
                <a:cs typeface="Calibri"/>
              </a:rPr>
              <a:t>Sikafloor</a:t>
            </a:r>
            <a:r>
              <a:rPr lang="es-ES" sz="1300" b="1" i="0" u="none" strike="noStrike" baseline="0" dirty="0">
                <a:latin typeface="Calibri"/>
                <a:cs typeface="Calibri"/>
              </a:rPr>
              <a:t>® </a:t>
            </a:r>
            <a:r>
              <a:rPr lang="es-ES" sz="1300" b="1" dirty="0" err="1">
                <a:latin typeface="Calibri"/>
                <a:cs typeface="Calibri"/>
              </a:rPr>
              <a:t>MultiDur</a:t>
            </a:r>
            <a:r>
              <a:rPr lang="es-ES" sz="1300" b="1" i="0" u="none" strike="noStrike" baseline="0" dirty="0">
                <a:latin typeface="Calibri"/>
                <a:cs typeface="Calibri"/>
              </a:rPr>
              <a:t> ES-26</a:t>
            </a:r>
            <a:endParaRPr lang="en-US" sz="1300" b="1" dirty="0">
              <a:latin typeface="Calibri"/>
              <a:cs typeface="Calibri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3A9EE8E-EBC8-40E8-A7C4-EB5621D3DABC}"/>
              </a:ext>
            </a:extLst>
          </p:cNvPr>
          <p:cNvSpPr/>
          <p:nvPr/>
        </p:nvSpPr>
        <p:spPr>
          <a:xfrm>
            <a:off x="5643775" y="1371603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>
                <a:latin typeface="Calibri" panose="020F0502020204030204" pitchFamily="34" charset="0"/>
              </a:rPr>
              <a:t>Sikafloor® MultiDur EB-14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F325144-0920-4C28-B175-22E182C0E139}"/>
              </a:ext>
            </a:extLst>
          </p:cNvPr>
          <p:cNvCxnSpPr/>
          <p:nvPr/>
        </p:nvCxnSpPr>
        <p:spPr>
          <a:xfrm>
            <a:off x="3500226" y="1371604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AD0081B-8449-462A-B4F5-2FA7BEF44EF7}"/>
              </a:ext>
            </a:extLst>
          </p:cNvPr>
          <p:cNvCxnSpPr/>
          <p:nvPr/>
        </p:nvCxnSpPr>
        <p:spPr>
          <a:xfrm>
            <a:off x="5586342" y="1371604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1618039" y="3295269"/>
            <a:ext cx="1678258" cy="3220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b="0" i="0" u="none" strike="noStrike" baseline="0" dirty="0">
                <a:latin typeface="Calibri" panose="020F0502020204030204" pitchFamily="34" charset="0"/>
              </a:rPr>
              <a:t>Revestimiento de pavimento epoxi liso unicolor</a:t>
            </a:r>
            <a:endParaRPr lang="en-US" sz="10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8AFF06C-A63A-4A40-A0DB-6AAE5F7CC0FB}"/>
              </a:ext>
            </a:extLst>
          </p:cNvPr>
          <p:cNvSpPr txBox="1"/>
          <p:nvPr/>
        </p:nvSpPr>
        <p:spPr>
          <a:xfrm>
            <a:off x="3704156" y="3295269"/>
            <a:ext cx="1678258" cy="3220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estimiento de pavimento epoxi liso monocolor</a:t>
            </a:r>
            <a:endParaRPr lang="es-ES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1471541" y="4131859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BIM_1_6_3_ES_24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94A8A2F-4E2F-8D4C-F9C4-C176DF8B99A2}"/>
              </a:ext>
            </a:extLst>
          </p:cNvPr>
          <p:cNvSpPr txBox="1"/>
          <p:nvPr/>
        </p:nvSpPr>
        <p:spPr>
          <a:xfrm>
            <a:off x="3544228" y="4132451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BIM_1_6_3_ES_26</a:t>
            </a:r>
            <a:r>
              <a: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FF931894-96AF-C06C-18EF-8BD5B025C910}"/>
              </a:ext>
            </a:extLst>
          </p:cNvPr>
          <p:cNvSpPr txBox="1"/>
          <p:nvPr/>
        </p:nvSpPr>
        <p:spPr>
          <a:xfrm>
            <a:off x="5778818" y="3240323"/>
            <a:ext cx="1701164" cy="743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estimiento epoxi antideslizante monocolor para pavimentos acorde a las normas alemanas OS8</a:t>
            </a:r>
            <a:endParaRPr lang="en-US" sz="1000" dirty="0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7C3B7565-7A12-170E-D26F-B778D5ECF15B}"/>
              </a:ext>
            </a:extLst>
          </p:cNvPr>
          <p:cNvSpPr txBox="1"/>
          <p:nvPr/>
        </p:nvSpPr>
        <p:spPr>
          <a:xfrm>
            <a:off x="5634675" y="4134612"/>
            <a:ext cx="19803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3_EB_14</a:t>
            </a:r>
            <a:r>
              <a:rPr lang="es-ES" sz="1300" b="1" dirty="0"/>
              <a:t> 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3B87C16-1421-AB82-8A4B-FFDB643CB3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78470" y="2061048"/>
            <a:ext cx="1492759" cy="101984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295C87CB-2A6B-8A1E-72AB-FFEFC020E0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3474" y="2061048"/>
            <a:ext cx="1492757" cy="1019842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6CF929FE-AA82-9BF9-F0AB-8C104DE133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0787" y="2061048"/>
            <a:ext cx="1492757" cy="101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347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  <a:cs typeface="Calibri"/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599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Gama </a:t>
            </a:r>
            <a:r>
              <a:rPr lang="es-ES" b="1" dirty="0">
                <a:solidFill>
                  <a:schemeClr val="bg1"/>
                </a:solidFill>
              </a:rPr>
              <a:t>Sikafloor® MultiDur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533167-ABEF-E4A3-FBF3-5058418F8E03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E168066-909E-89FE-A3A0-91FF1A3B6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5</a:t>
            </a:fld>
            <a:r>
              <a:rPr lang="en-GB" altLang="de-DE"/>
              <a:t>  </a:t>
            </a:r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77C03213-BC74-721D-B1FF-4A10B6C7EDB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3072" y="4767263"/>
            <a:ext cx="7279733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3A9EE8E-EBC8-40E8-A7C4-EB5621D3DABC}"/>
              </a:ext>
            </a:extLst>
          </p:cNvPr>
          <p:cNvSpPr/>
          <p:nvPr/>
        </p:nvSpPr>
        <p:spPr>
          <a:xfrm>
            <a:off x="4653623" y="1374301"/>
            <a:ext cx="2049038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 err="1">
                <a:latin typeface="Calibri" panose="020F0502020204030204" pitchFamily="34" charset="0"/>
              </a:rPr>
              <a:t>Sikafloor</a:t>
            </a:r>
            <a:r>
              <a:rPr lang="es-ES" sz="1300" b="1" i="0" u="none" strike="noStrike" baseline="0" dirty="0">
                <a:latin typeface="Calibri" panose="020F0502020204030204" pitchFamily="34" charset="0"/>
              </a:rPr>
              <a:t>® </a:t>
            </a:r>
            <a:r>
              <a:rPr lang="es-ES" sz="1300" b="1" i="0" u="none" strike="noStrike" baseline="0" dirty="0" err="1">
                <a:latin typeface="Calibri" panose="020F0502020204030204" pitchFamily="34" charset="0"/>
              </a:rPr>
              <a:t>MultiDur</a:t>
            </a:r>
            <a:r>
              <a:rPr lang="es-ES" sz="1300" b="1" i="0" u="none" strike="noStrike" baseline="0" dirty="0">
                <a:latin typeface="Calibri" panose="020F0502020204030204" pitchFamily="34" charset="0"/>
              </a:rPr>
              <a:t> WT-10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FF931894-96AF-C06C-18EF-8BD5B025C910}"/>
              </a:ext>
            </a:extLst>
          </p:cNvPr>
          <p:cNvSpPr txBox="1"/>
          <p:nvPr/>
        </p:nvSpPr>
        <p:spPr>
          <a:xfrm>
            <a:off x="4797766" y="3221587"/>
            <a:ext cx="1701164" cy="743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/>
              <a:t>Sistema de revestimiento, de pavimiento </a:t>
            </a:r>
            <a:r>
              <a:rPr lang="es-ES" sz="1000" dirty="0" err="1"/>
              <a:t>texturado</a:t>
            </a:r>
            <a:r>
              <a:rPr lang="es-ES" sz="1000" dirty="0"/>
              <a:t>, epoxi de base acuosa con bajo contenido en VOC</a:t>
            </a:r>
            <a:endParaRPr lang="en-US" sz="1000" dirty="0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7C3B7565-7A12-170E-D26F-B778D5ECF15B}"/>
              </a:ext>
            </a:extLst>
          </p:cNvPr>
          <p:cNvSpPr txBox="1"/>
          <p:nvPr/>
        </p:nvSpPr>
        <p:spPr>
          <a:xfrm>
            <a:off x="4653623" y="4115876"/>
            <a:ext cx="19803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</a:t>
            </a:r>
            <a:r>
              <a:rPr lang="es-ES" sz="1300" b="1" dirty="0">
                <a:solidFill>
                  <a:srgbClr val="000000"/>
                </a:solidFill>
              </a:rPr>
              <a:t>6</a:t>
            </a: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_WT_10</a:t>
            </a:r>
            <a:endParaRPr lang="es-ES" sz="1300" b="1" dirty="0"/>
          </a:p>
        </p:txBody>
      </p:sp>
      <p:pic>
        <p:nvPicPr>
          <p:cNvPr id="10" name="Imagen 9" descr="Una mesa de madera&#10;&#10;Descripción generada automáticamente con confianza media">
            <a:extLst>
              <a:ext uri="{FF2B5EF4-FFF2-40B4-BE49-F238E27FC236}">
                <a16:creationId xmlns:a16="http://schemas.microsoft.com/office/drawing/2014/main" id="{FFE1E134-CEF3-3E51-1E12-D7ECDD3C96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4344" y="2051120"/>
            <a:ext cx="1507595" cy="1019843"/>
          </a:xfrm>
          <a:prstGeom prst="rect">
            <a:avLst/>
          </a:prstGeom>
        </p:spPr>
      </p:pic>
      <p:cxnSp>
        <p:nvCxnSpPr>
          <p:cNvPr id="11" name="Straight Connector 61">
            <a:extLst>
              <a:ext uri="{FF2B5EF4-FFF2-40B4-BE49-F238E27FC236}">
                <a16:creationId xmlns:a16="http://schemas.microsoft.com/office/drawing/2014/main" id="{90EB27E6-D271-CC68-15B5-FE1261EBFD3D}"/>
              </a:ext>
            </a:extLst>
          </p:cNvPr>
          <p:cNvCxnSpPr/>
          <p:nvPr/>
        </p:nvCxnSpPr>
        <p:spPr>
          <a:xfrm>
            <a:off x="4567609" y="1414939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56">
            <a:extLst>
              <a:ext uri="{FF2B5EF4-FFF2-40B4-BE49-F238E27FC236}">
                <a16:creationId xmlns:a16="http://schemas.microsoft.com/office/drawing/2014/main" id="{FAD98466-7FC1-5CD7-22A4-433341BF13E1}"/>
              </a:ext>
            </a:extLst>
          </p:cNvPr>
          <p:cNvSpPr/>
          <p:nvPr/>
        </p:nvSpPr>
        <p:spPr>
          <a:xfrm>
            <a:off x="2519128" y="1374301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dirty="0">
                <a:latin typeface="Calibri" panose="020F0502020204030204" pitchFamily="34" charset="0"/>
              </a:rPr>
              <a:t>Sikafloor® MultiDur EB-24</a:t>
            </a:r>
            <a:endParaRPr lang="en-US" sz="1300" b="1" dirty="0">
              <a:latin typeface="Calibri" panose="020F0502020204030204" pitchFamily="34" charset="0"/>
            </a:endParaRPr>
          </a:p>
        </p:txBody>
      </p:sp>
      <p:sp>
        <p:nvSpPr>
          <p:cNvPr id="18" name="TextBox 67">
            <a:extLst>
              <a:ext uri="{FF2B5EF4-FFF2-40B4-BE49-F238E27FC236}">
                <a16:creationId xmlns:a16="http://schemas.microsoft.com/office/drawing/2014/main" id="{58763C90-13CB-AB80-16C2-A58038B1F9F2}"/>
              </a:ext>
            </a:extLst>
          </p:cNvPr>
          <p:cNvSpPr txBox="1"/>
          <p:nvPr/>
        </p:nvSpPr>
        <p:spPr>
          <a:xfrm>
            <a:off x="2656524" y="3295339"/>
            <a:ext cx="1678258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/>
            <a:r>
              <a:rPr lang="es-ES" sz="1000" b="0" i="0" u="none" strike="noStrike" baseline="0" dirty="0">
                <a:latin typeface="Calibri" panose="020F0502020204030204" pitchFamily="34" charset="0"/>
              </a:rPr>
              <a:t>Revestimiento de pavimento epoxi antideslizante, coloreado, de alta resistencia mecánica</a:t>
            </a:r>
            <a:endParaRPr lang="en-US" sz="1000" dirty="0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0D25897-5719-5FF4-C8F9-168FCF94CD14}"/>
              </a:ext>
            </a:extLst>
          </p:cNvPr>
          <p:cNvSpPr txBox="1"/>
          <p:nvPr/>
        </p:nvSpPr>
        <p:spPr>
          <a:xfrm>
            <a:off x="2496596" y="4132521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3_EB_24</a:t>
            </a:r>
            <a:r>
              <a:rPr lang="es-ES" sz="1300" b="1" dirty="0"/>
              <a:t>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4798C14A-10ED-0FC7-CEEC-42C5178135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35842" y="2061118"/>
            <a:ext cx="1492757" cy="101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9331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60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Gama </a:t>
            </a:r>
            <a:r>
              <a:rPr lang="es-ES" b="1" dirty="0">
                <a:solidFill>
                  <a:schemeClr val="bg1"/>
                </a:solidFill>
              </a:rPr>
              <a:t>Sikafloor® MultiFlex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BB99072-4AD6-D2B8-F0EB-42015B8B3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6</a:t>
            </a:fld>
            <a:r>
              <a:rPr lang="en-GB" altLang="de-DE"/>
              <a:t>  </a:t>
            </a: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C6A67DE8-CBD4-272E-7FE3-E9AD2A09278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397166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217B78A9-EEF3-D3A6-65F3-1D840DE4F5E4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Straight Connector 60">
            <a:extLst>
              <a:ext uri="{FF2B5EF4-FFF2-40B4-BE49-F238E27FC236}">
                <a16:creationId xmlns:a16="http://schemas.microsoft.com/office/drawing/2014/main" id="{4993B7F1-FA77-D42C-EFFC-0B8C3902F999}"/>
              </a:ext>
            </a:extLst>
          </p:cNvPr>
          <p:cNvCxnSpPr/>
          <p:nvPr/>
        </p:nvCxnSpPr>
        <p:spPr>
          <a:xfrm>
            <a:off x="3398262" y="1440945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5737863" y="1377407"/>
            <a:ext cx="2095217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0" u="none" strike="noStrike" baseline="0" dirty="0">
                <a:latin typeface="Calibri" panose="020F0502020204030204" pitchFamily="34" charset="0"/>
              </a:rPr>
              <a:t>Sikafloor® MultiFlex PB-55 UV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5769823" y="3333867"/>
            <a:ext cx="2058212" cy="48667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mbrana de poliuretano elástica para sistemas de cubierta parking con resistencia UV</a:t>
            </a:r>
            <a:endParaRPr lang="es-ES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5657746" y="4139403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2_PB_55_UV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 56">
            <a:extLst>
              <a:ext uri="{FF2B5EF4-FFF2-40B4-BE49-F238E27FC236}">
                <a16:creationId xmlns:a16="http://schemas.microsoft.com/office/drawing/2014/main" id="{4368F1F3-5642-F887-B49E-6C3C7A6E8A77}"/>
              </a:ext>
            </a:extLst>
          </p:cNvPr>
          <p:cNvSpPr/>
          <p:nvPr/>
        </p:nvSpPr>
        <p:spPr>
          <a:xfrm>
            <a:off x="1365202" y="1370253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 err="1">
                <a:latin typeface="Calibri" panose="020F0502020204030204" pitchFamily="34" charset="0"/>
              </a:rPr>
              <a:t>Sikafloor</a:t>
            </a:r>
            <a:r>
              <a:rPr lang="es-ES" sz="1200" b="1" dirty="0">
                <a:latin typeface="Calibri" panose="020F0502020204030204" pitchFamily="34" charset="0"/>
              </a:rPr>
              <a:t>® </a:t>
            </a:r>
            <a:r>
              <a:rPr lang="es-ES" sz="1200" b="1" dirty="0" err="1">
                <a:latin typeface="Calibri" panose="020F0502020204030204" pitchFamily="34" charset="0"/>
              </a:rPr>
              <a:t>MultiFlex</a:t>
            </a:r>
            <a:r>
              <a:rPr lang="es-ES" sz="1200" b="1" dirty="0">
                <a:latin typeface="Calibri" panose="020F0502020204030204" pitchFamily="34" charset="0"/>
              </a:rPr>
              <a:t> PB-32</a:t>
            </a:r>
            <a:endParaRPr lang="en-US" sz="1200" b="1" dirty="0">
              <a:latin typeface="Calibri" panose="020F0502020204030204" pitchFamily="34" charset="0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754BB0DA-B25D-FE5C-4641-392795D381AF}"/>
              </a:ext>
            </a:extLst>
          </p:cNvPr>
          <p:cNvSpPr/>
          <p:nvPr/>
        </p:nvSpPr>
        <p:spPr>
          <a:xfrm>
            <a:off x="3473264" y="1374360"/>
            <a:ext cx="2095216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0" u="none" strike="noStrike" baseline="0" dirty="0" err="1">
                <a:latin typeface="Calibri" panose="020F0502020204030204" pitchFamily="34" charset="0"/>
              </a:rPr>
              <a:t>Sikafloor</a:t>
            </a:r>
            <a:r>
              <a:rPr lang="es-ES" sz="1200" b="1" i="0" u="none" strike="noStrike" baseline="0" dirty="0">
                <a:latin typeface="Calibri" panose="020F0502020204030204" pitchFamily="34" charset="0"/>
              </a:rPr>
              <a:t>® </a:t>
            </a:r>
            <a:r>
              <a:rPr lang="es-ES" sz="1200" b="1" i="0" u="none" strike="noStrike" baseline="0" dirty="0" err="1">
                <a:latin typeface="Calibri" panose="020F0502020204030204" pitchFamily="34" charset="0"/>
              </a:rPr>
              <a:t>MultiFlex</a:t>
            </a:r>
            <a:r>
              <a:rPr lang="es-ES" sz="1200" b="1" i="0" u="none" strike="noStrike" baseline="0" dirty="0">
                <a:latin typeface="Calibri" panose="020F0502020204030204" pitchFamily="34" charset="0"/>
              </a:rPr>
              <a:t> PB-32 UV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TextBox 67">
            <a:extLst>
              <a:ext uri="{FF2B5EF4-FFF2-40B4-BE49-F238E27FC236}">
                <a16:creationId xmlns:a16="http://schemas.microsoft.com/office/drawing/2014/main" id="{C9BBFFFC-BD12-0744-8AD5-2CACA60709E0}"/>
              </a:ext>
            </a:extLst>
          </p:cNvPr>
          <p:cNvSpPr txBox="1"/>
          <p:nvPr/>
        </p:nvSpPr>
        <p:spPr>
          <a:xfrm>
            <a:off x="1485322" y="3339048"/>
            <a:ext cx="1678258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/>
            <a:r>
              <a:rPr lang="es-ES" sz="1000" b="0" i="0" u="none" strike="noStrike" baseline="0" dirty="0">
                <a:latin typeface="Calibri" panose="020F0502020204030204" pitchFamily="34" charset="0"/>
              </a:rPr>
              <a:t>Sistema de pavimento de poliuretano antideslizante, </a:t>
            </a:r>
          </a:p>
          <a:p>
            <a:pPr algn="just"/>
            <a:r>
              <a:rPr lang="es-ES" sz="1000" b="0" i="0" u="none" strike="noStrike" baseline="0" dirty="0">
                <a:latin typeface="Calibri" panose="020F0502020204030204" pitchFamily="34" charset="0"/>
              </a:rPr>
              <a:t>resistente y elástico</a:t>
            </a:r>
            <a:endParaRPr lang="en-US" sz="1000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9E5B338A-8C48-5ADB-5208-74744330F5C5}"/>
              </a:ext>
            </a:extLst>
          </p:cNvPr>
          <p:cNvSpPr txBox="1"/>
          <p:nvPr/>
        </p:nvSpPr>
        <p:spPr>
          <a:xfrm>
            <a:off x="1342670" y="4121700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3_PB_32</a:t>
            </a:r>
            <a:r>
              <a:rPr lang="es-ES" sz="1300" b="1" dirty="0"/>
              <a:t>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3340BB79-2CB7-90F5-803C-4C8B75AD44FA}"/>
              </a:ext>
            </a:extLst>
          </p:cNvPr>
          <p:cNvSpPr txBox="1"/>
          <p:nvPr/>
        </p:nvSpPr>
        <p:spPr>
          <a:xfrm>
            <a:off x="3608307" y="3284757"/>
            <a:ext cx="1701164" cy="743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de pavimento de poliuretano resistente a los rayos UV, antideslizante y elástico</a:t>
            </a:r>
            <a:endParaRPr lang="en-US" sz="1000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321DF495-034B-C451-496C-F91EF62C4653}"/>
              </a:ext>
            </a:extLst>
          </p:cNvPr>
          <p:cNvSpPr txBox="1"/>
          <p:nvPr/>
        </p:nvSpPr>
        <p:spPr>
          <a:xfrm>
            <a:off x="3464164" y="4130596"/>
            <a:ext cx="19803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3_</a:t>
            </a:r>
            <a:r>
              <a:rPr lang="es-ES" sz="1300" b="1" dirty="0">
                <a:solidFill>
                  <a:srgbClr val="000000"/>
                </a:solidFill>
              </a:rPr>
              <a:t>PB_32_UV</a:t>
            </a:r>
            <a:r>
              <a:rPr lang="es-ES" sz="1300" b="1" dirty="0"/>
              <a:t> </a:t>
            </a:r>
          </a:p>
        </p:txBody>
      </p:sp>
      <p:pic>
        <p:nvPicPr>
          <p:cNvPr id="33" name="Imagen 32" descr="Una mesa de madera&#10;&#10;Descripción generada automáticamente con confianza baja">
            <a:extLst>
              <a:ext uri="{FF2B5EF4-FFF2-40B4-BE49-F238E27FC236}">
                <a16:creationId xmlns:a16="http://schemas.microsoft.com/office/drawing/2014/main" id="{E27100B2-A928-399C-7E8E-1A5450E6A2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9217" y="2096736"/>
            <a:ext cx="1440907" cy="984620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:a16="http://schemas.microsoft.com/office/drawing/2014/main" id="{7981F29B-5607-BF42-7BF4-D33E312B81B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33885" y="2072634"/>
            <a:ext cx="1440907" cy="984417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id="{8F0DC99B-ACBB-F735-90CF-6394F58DF0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71603" y="2070818"/>
            <a:ext cx="1427735" cy="984620"/>
          </a:xfrm>
          <a:prstGeom prst="rect">
            <a:avLst/>
          </a:prstGeom>
        </p:spPr>
      </p:pic>
      <p:cxnSp>
        <p:nvCxnSpPr>
          <p:cNvPr id="6" name="Straight Connector 61">
            <a:extLst>
              <a:ext uri="{FF2B5EF4-FFF2-40B4-BE49-F238E27FC236}">
                <a16:creationId xmlns:a16="http://schemas.microsoft.com/office/drawing/2014/main" id="{EFD8AAEE-FFF0-6D19-727C-731298BF4DB4}"/>
              </a:ext>
            </a:extLst>
          </p:cNvPr>
          <p:cNvCxnSpPr/>
          <p:nvPr/>
        </p:nvCxnSpPr>
        <p:spPr>
          <a:xfrm>
            <a:off x="5649371" y="1382109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6808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37890"/>
            <a:ext cx="8605837" cy="654273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210995" y="4422901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60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Gama </a:t>
            </a:r>
            <a:r>
              <a:rPr lang="es-ES" b="1" dirty="0">
                <a:solidFill>
                  <a:schemeClr val="bg1"/>
                </a:solidFill>
              </a:rPr>
              <a:t>Sikafloor® PurCem®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BB99072-4AD6-D2B8-F0EB-42015B8B3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7</a:t>
            </a:fld>
            <a:r>
              <a:rPr lang="en-GB" altLang="de-DE"/>
              <a:t>  </a:t>
            </a: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C6A67DE8-CBD4-272E-7FE3-E9AD2A09278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397166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1C7EA66-3AF1-04A7-FD45-5517C7EE6C15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4" name="Grupo 33">
            <a:extLst>
              <a:ext uri="{FF2B5EF4-FFF2-40B4-BE49-F238E27FC236}">
                <a16:creationId xmlns:a16="http://schemas.microsoft.com/office/drawing/2014/main" id="{4173CE7B-306A-2014-1C19-BE262D43B543}"/>
              </a:ext>
            </a:extLst>
          </p:cNvPr>
          <p:cNvGrpSpPr/>
          <p:nvPr/>
        </p:nvGrpSpPr>
        <p:grpSpPr>
          <a:xfrm>
            <a:off x="391191" y="1319903"/>
            <a:ext cx="8393367" cy="3040887"/>
            <a:chOff x="349108" y="1319904"/>
            <a:chExt cx="8393367" cy="3040887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2663665-9B22-4B68-82D7-634FD0D718E0}"/>
                </a:ext>
              </a:extLst>
            </p:cNvPr>
            <p:cNvSpPr/>
            <p:nvPr/>
          </p:nvSpPr>
          <p:spPr>
            <a:xfrm>
              <a:off x="371640" y="1370150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 i="0" u="none" strike="noStrike" baseline="0" dirty="0">
                  <a:latin typeface="Calibri" panose="020F0502020204030204" pitchFamily="34" charset="0"/>
                </a:rPr>
                <a:t>Sikafloor® PurCem® HM-20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3A9EE8E-EBC8-40E8-A7C4-EB5621D3DABC}"/>
                </a:ext>
              </a:extLst>
            </p:cNvPr>
            <p:cNvSpPr/>
            <p:nvPr/>
          </p:nvSpPr>
          <p:spPr>
            <a:xfrm>
              <a:off x="2467489" y="1374695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 i="0" u="none" strike="noStrike" baseline="0" dirty="0">
                  <a:latin typeface="Calibri" panose="020F0502020204030204" pitchFamily="34" charset="0"/>
                </a:rPr>
                <a:t>Sikafloor® PurCem® HB-21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2AD0081B-8449-462A-B4F5-2FA7BEF44EF7}"/>
                </a:ext>
              </a:extLst>
            </p:cNvPr>
            <p:cNvCxnSpPr/>
            <p:nvPr/>
          </p:nvCxnSpPr>
          <p:spPr>
            <a:xfrm>
              <a:off x="2391222" y="1319904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F3B4036-43C9-4925-B1FE-8DC524B9EF41}"/>
                </a:ext>
              </a:extLst>
            </p:cNvPr>
            <p:cNvCxnSpPr/>
            <p:nvPr/>
          </p:nvCxnSpPr>
          <p:spPr>
            <a:xfrm>
              <a:off x="4477338" y="1319904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28AFF06C-A63A-4A40-A0DB-6AAE5F7CC0FB}"/>
                </a:ext>
              </a:extLst>
            </p:cNvPr>
            <p:cNvSpPr txBox="1"/>
            <p:nvPr/>
          </p:nvSpPr>
          <p:spPr>
            <a:xfrm>
              <a:off x="509036" y="3221447"/>
              <a:ext cx="1678258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Sistema de pavimento híbrido de poliuretano-cemento, muy resistente, aplicado con llana</a:t>
              </a:r>
              <a:endParaRPr lang="en-US" sz="10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258D11DF-8BF5-4555-A8BE-C65DF9D11B9D}"/>
                </a:ext>
              </a:extLst>
            </p:cNvPr>
            <p:cNvSpPr txBox="1"/>
            <p:nvPr/>
          </p:nvSpPr>
          <p:spPr>
            <a:xfrm>
              <a:off x="2595153" y="3221447"/>
              <a:ext cx="1678258" cy="651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stema de pavimento híbrido de poliuretano-cemento ligeramente texturado y alta resistencia</a:t>
              </a:r>
              <a:endParaRPr lang="es-E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A94A8A2F-4E2F-8D4C-F9C4-C176DF8B99A2}"/>
                </a:ext>
              </a:extLst>
            </p:cNvPr>
            <p:cNvSpPr txBox="1"/>
            <p:nvPr/>
          </p:nvSpPr>
          <p:spPr>
            <a:xfrm>
              <a:off x="349108" y="4058629"/>
              <a:ext cx="197125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3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1_6_2_HM_20</a:t>
              </a:r>
              <a:r>
                <a:rPr lang="es-ES" sz="1300" b="1" dirty="0"/>
                <a:t>  </a:t>
              </a:r>
              <a:endPara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4596D989-D6E9-2D7D-441B-79C05215E694}"/>
                </a:ext>
              </a:extLst>
            </p:cNvPr>
            <p:cNvSpPr txBox="1"/>
            <p:nvPr/>
          </p:nvSpPr>
          <p:spPr>
            <a:xfrm>
              <a:off x="2448654" y="4058037"/>
              <a:ext cx="197125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300" b="1" i="0" u="none" strike="noStrike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1_6_2_HB_21</a:t>
              </a:r>
              <a:r>
                <a:rPr lang="es-ES" sz="1300" b="1"/>
                <a:t>  </a:t>
              </a:r>
            </a:p>
          </p:txBody>
        </p:sp>
        <p:sp>
          <p:nvSpPr>
            <p:cNvPr id="21" name="Rectangle 55">
              <a:extLst>
                <a:ext uri="{FF2B5EF4-FFF2-40B4-BE49-F238E27FC236}">
                  <a16:creationId xmlns:a16="http://schemas.microsoft.com/office/drawing/2014/main" id="{BC840129-62E5-7869-47FA-10D60D004A21}"/>
                </a:ext>
              </a:extLst>
            </p:cNvPr>
            <p:cNvSpPr/>
            <p:nvPr/>
          </p:nvSpPr>
          <p:spPr>
            <a:xfrm>
              <a:off x="4534304" y="1374695"/>
              <a:ext cx="2095217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 i="0" u="none" strike="noStrike" baseline="0" dirty="0">
                  <a:latin typeface="Calibri" panose="020F0502020204030204" pitchFamily="34" charset="0"/>
                </a:rPr>
                <a:t>Sikafloor® PurCem® HS-21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57">
              <a:extLst>
                <a:ext uri="{FF2B5EF4-FFF2-40B4-BE49-F238E27FC236}">
                  <a16:creationId xmlns:a16="http://schemas.microsoft.com/office/drawing/2014/main" id="{EC9D94BB-6558-32B7-C54F-2772FD78C376}"/>
                </a:ext>
              </a:extLst>
            </p:cNvPr>
            <p:cNvSpPr/>
            <p:nvPr/>
          </p:nvSpPr>
          <p:spPr>
            <a:xfrm>
              <a:off x="6730942" y="1369209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 i="0" u="none" strike="noStrike" baseline="0" dirty="0">
                  <a:latin typeface="Calibri" panose="020F0502020204030204" pitchFamily="34" charset="0"/>
                </a:rPr>
                <a:t>Sikafloor® PurCem® HB-22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65">
              <a:extLst>
                <a:ext uri="{FF2B5EF4-FFF2-40B4-BE49-F238E27FC236}">
                  <a16:creationId xmlns:a16="http://schemas.microsoft.com/office/drawing/2014/main" id="{55193783-3FD0-C3E6-4EB5-AF77818D695D}"/>
                </a:ext>
              </a:extLst>
            </p:cNvPr>
            <p:cNvSpPr txBox="1"/>
            <p:nvPr/>
          </p:nvSpPr>
          <p:spPr>
            <a:xfrm>
              <a:off x="4813240" y="3231813"/>
              <a:ext cx="1678258" cy="48667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stema de pavimento híbrido de poliuretano-cemento de alta resistencia y acabado liso</a:t>
              </a:r>
              <a:endParaRPr lang="es-E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TextBox 83">
              <a:extLst>
                <a:ext uri="{FF2B5EF4-FFF2-40B4-BE49-F238E27FC236}">
                  <a16:creationId xmlns:a16="http://schemas.microsoft.com/office/drawing/2014/main" id="{21470FD5-BEB8-E9F9-1620-61E86F0E22AE}"/>
                </a:ext>
              </a:extLst>
            </p:cNvPr>
            <p:cNvSpPr txBox="1"/>
            <p:nvPr/>
          </p:nvSpPr>
          <p:spPr>
            <a:xfrm>
              <a:off x="6917724" y="3231813"/>
              <a:ext cx="1678258" cy="48667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b="0" i="0" u="none" strike="noStrike" baseline="0">
                  <a:latin typeface="Calibri" panose="020F0502020204030204" pitchFamily="34" charset="0"/>
                </a:rPr>
                <a:t>Sistema de pavimento híbrido de poliuretano-cemento de alta resistencia y alto texturado</a:t>
              </a:r>
              <a:endParaRPr lang="es-E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70140EFD-0895-D2DF-F4CB-5FF47C6489B1}"/>
                </a:ext>
              </a:extLst>
            </p:cNvPr>
            <p:cNvSpPr txBox="1"/>
            <p:nvPr/>
          </p:nvSpPr>
          <p:spPr>
            <a:xfrm>
              <a:off x="4666742" y="4068403"/>
              <a:ext cx="197125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300" b="1" i="0" u="none" strike="noStrike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1_6_2_HS_21</a:t>
              </a:r>
              <a:r>
                <a:rPr lang="es-ES" sz="1300" b="1"/>
                <a:t>  </a:t>
              </a:r>
              <a:endParaRPr kumimoji="0" lang="es-E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986AAB3D-EFCB-71A0-FF2B-3D3BF6D1B1BA}"/>
                </a:ext>
              </a:extLst>
            </p:cNvPr>
            <p:cNvSpPr txBox="1"/>
            <p:nvPr/>
          </p:nvSpPr>
          <p:spPr>
            <a:xfrm>
              <a:off x="6771225" y="4068403"/>
              <a:ext cx="197125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300" b="1" i="0" u="none" strike="noStrike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1_6_2_HB_22</a:t>
              </a:r>
              <a:r>
                <a:rPr lang="es-ES" sz="1300" b="1"/>
                <a:t>  </a:t>
              </a:r>
            </a:p>
          </p:txBody>
        </p:sp>
        <p:cxnSp>
          <p:nvCxnSpPr>
            <p:cNvPr id="29" name="Straight Connector 62">
              <a:extLst>
                <a:ext uri="{FF2B5EF4-FFF2-40B4-BE49-F238E27FC236}">
                  <a16:creationId xmlns:a16="http://schemas.microsoft.com/office/drawing/2014/main" id="{7E4E947E-4057-EBC5-B445-7AA2F989CD5B}"/>
                </a:ext>
              </a:extLst>
            </p:cNvPr>
            <p:cNvCxnSpPr/>
            <p:nvPr/>
          </p:nvCxnSpPr>
          <p:spPr>
            <a:xfrm>
              <a:off x="6680231" y="1332957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0" name="Imagen 29">
              <a:extLst>
                <a:ext uri="{FF2B5EF4-FFF2-40B4-BE49-F238E27FC236}">
                  <a16:creationId xmlns:a16="http://schemas.microsoft.com/office/drawing/2014/main" id="{A92C173D-618A-AAE5-F3D7-212D6E71EE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067788" y="1875721"/>
              <a:ext cx="1388267" cy="984620"/>
            </a:xfrm>
            <a:prstGeom prst="rect">
              <a:avLst/>
            </a:prstGeom>
          </p:spPr>
        </p:pic>
        <p:pic>
          <p:nvPicPr>
            <p:cNvPr id="31" name="Imagen 30">
              <a:extLst>
                <a:ext uri="{FF2B5EF4-FFF2-40B4-BE49-F238E27FC236}">
                  <a16:creationId xmlns:a16="http://schemas.microsoft.com/office/drawing/2014/main" id="{FA198363-FDC1-E97B-FD8C-520AC664B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887778" y="1879860"/>
              <a:ext cx="1388267" cy="984619"/>
            </a:xfrm>
            <a:prstGeom prst="rect">
              <a:avLst/>
            </a:prstGeom>
          </p:spPr>
        </p:pic>
        <p:pic>
          <p:nvPicPr>
            <p:cNvPr id="32" name="Imagen 31">
              <a:extLst>
                <a:ext uri="{FF2B5EF4-FFF2-40B4-BE49-F238E27FC236}">
                  <a16:creationId xmlns:a16="http://schemas.microsoft.com/office/drawing/2014/main" id="{E8FACC98-B86E-E729-86B5-39920A5AC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740145" y="1873256"/>
              <a:ext cx="1388267" cy="984619"/>
            </a:xfrm>
            <a:prstGeom prst="rect">
              <a:avLst/>
            </a:prstGeom>
          </p:spPr>
        </p:pic>
        <p:pic>
          <p:nvPicPr>
            <p:cNvPr id="33" name="Imagen 32">
              <a:extLst>
                <a:ext uri="{FF2B5EF4-FFF2-40B4-BE49-F238E27FC236}">
                  <a16:creationId xmlns:a16="http://schemas.microsoft.com/office/drawing/2014/main" id="{7ADA0FBC-DEA7-A77C-70FD-041D1BD07C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0599" y="1877076"/>
              <a:ext cx="1388267" cy="9678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18287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37890"/>
            <a:ext cx="8605837" cy="654273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60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Gama </a:t>
            </a:r>
            <a:r>
              <a:rPr lang="es-ES" b="1" dirty="0">
                <a:solidFill>
                  <a:schemeClr val="bg1"/>
                </a:solidFill>
              </a:rPr>
              <a:t>Sikafloor® PurCem®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BB99072-4AD6-D2B8-F0EB-42015B8B3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8</a:t>
            </a:fld>
            <a:r>
              <a:rPr lang="en-GB" altLang="de-DE"/>
              <a:t>  </a:t>
            </a: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C6A67DE8-CBD4-272E-7FE3-E9AD2A09278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397166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1C7EA66-3AF1-04A7-FD45-5517C7EE6C15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F3B4036-43C9-4925-B1FE-8DC524B9EF41}"/>
              </a:ext>
            </a:extLst>
          </p:cNvPr>
          <p:cNvCxnSpPr/>
          <p:nvPr/>
        </p:nvCxnSpPr>
        <p:spPr>
          <a:xfrm>
            <a:off x="3452948" y="1365705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58">
            <a:extLst>
              <a:ext uri="{FF2B5EF4-FFF2-40B4-BE49-F238E27FC236}">
                <a16:creationId xmlns:a16="http://schemas.microsoft.com/office/drawing/2014/main" id="{E79B28BD-E3A4-B6DA-B3F6-8C7F287151B8}"/>
              </a:ext>
            </a:extLst>
          </p:cNvPr>
          <p:cNvSpPr/>
          <p:nvPr/>
        </p:nvSpPr>
        <p:spPr>
          <a:xfrm>
            <a:off x="1297684" y="1373952"/>
            <a:ext cx="2086113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b="1" i="0" u="none" strike="noStrike" baseline="0" dirty="0">
                <a:latin typeface="Calibri" panose="020F0502020204030204" pitchFamily="34" charset="0"/>
              </a:rPr>
              <a:t>Sikafloor® PurCem® HB-21 </a:t>
            </a:r>
            <a:r>
              <a:rPr lang="es-ES" sz="1100" b="1" i="0" u="none" strike="noStrike" baseline="0" dirty="0" err="1">
                <a:latin typeface="Calibri" panose="020F0502020204030204" pitchFamily="34" charset="0"/>
              </a:rPr>
              <a:t>Gloss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5" name="TextBox 84">
            <a:extLst>
              <a:ext uri="{FF2B5EF4-FFF2-40B4-BE49-F238E27FC236}">
                <a16:creationId xmlns:a16="http://schemas.microsoft.com/office/drawing/2014/main" id="{A9D110EA-4C69-87E7-FC40-C6F81D6E51BE}"/>
              </a:ext>
            </a:extLst>
          </p:cNvPr>
          <p:cNvSpPr txBox="1"/>
          <p:nvPr/>
        </p:nvSpPr>
        <p:spPr>
          <a:xfrm>
            <a:off x="1444084" y="3246754"/>
            <a:ext cx="1678258" cy="815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de pavimento híbrido de poliuretano-cemento de alta resistencia, con acabado brillante y ligeramente </a:t>
            </a:r>
            <a:r>
              <a:rPr lang="es-ES" sz="1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xturado</a:t>
            </a:r>
            <a:endParaRPr lang="es-ES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57A8175D-7C54-3698-05BE-B07C9008340E}"/>
              </a:ext>
            </a:extLst>
          </p:cNvPr>
          <p:cNvSpPr txBox="1"/>
          <p:nvPr/>
        </p:nvSpPr>
        <p:spPr>
          <a:xfrm>
            <a:off x="1331534" y="4083344"/>
            <a:ext cx="1971249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2_HB_21_G</a:t>
            </a:r>
            <a:r>
              <a:rPr kumimoji="0" lang="es-E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1" name="Rectangle 56">
            <a:extLst>
              <a:ext uri="{FF2B5EF4-FFF2-40B4-BE49-F238E27FC236}">
                <a16:creationId xmlns:a16="http://schemas.microsoft.com/office/drawing/2014/main" id="{AA191E3F-AC2F-A672-F3CF-284FAC88305E}"/>
              </a:ext>
            </a:extLst>
          </p:cNvPr>
          <p:cNvSpPr/>
          <p:nvPr/>
        </p:nvSpPr>
        <p:spPr>
          <a:xfrm>
            <a:off x="3540724" y="1374875"/>
            <a:ext cx="2106347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b="1" i="0" u="none" strike="noStrike" baseline="0" dirty="0">
                <a:latin typeface="Calibri" panose="020F0502020204030204" pitchFamily="34" charset="0"/>
              </a:rPr>
              <a:t>Sikafloor® PurCem® HS-21 </a:t>
            </a:r>
            <a:r>
              <a:rPr lang="es-ES" sz="1100" b="1" i="0" u="none" strike="noStrike" baseline="0" dirty="0" err="1">
                <a:latin typeface="Calibri" panose="020F0502020204030204" pitchFamily="34" charset="0"/>
              </a:rPr>
              <a:t>Gloss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2" name="Rectangle 58">
            <a:extLst>
              <a:ext uri="{FF2B5EF4-FFF2-40B4-BE49-F238E27FC236}">
                <a16:creationId xmlns:a16="http://schemas.microsoft.com/office/drawing/2014/main" id="{AF12A637-BA0F-27C6-085A-C174D5DD2A24}"/>
              </a:ext>
            </a:extLst>
          </p:cNvPr>
          <p:cNvSpPr/>
          <p:nvPr/>
        </p:nvSpPr>
        <p:spPr>
          <a:xfrm>
            <a:off x="5791953" y="1376129"/>
            <a:ext cx="2086113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b="1" i="0" u="none" strike="noStrike" baseline="0" dirty="0">
                <a:latin typeface="Calibri" panose="020F0502020204030204" pitchFamily="34" charset="0"/>
              </a:rPr>
              <a:t>Sikafloor® PurCem® HB-22 </a:t>
            </a:r>
            <a:r>
              <a:rPr lang="es-ES" sz="1100" b="1" i="0" u="none" strike="noStrike" baseline="0" dirty="0" err="1">
                <a:latin typeface="Calibri" panose="020F0502020204030204" pitchFamily="34" charset="0"/>
              </a:rPr>
              <a:t>Gloss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3" name="TextBox 67">
            <a:extLst>
              <a:ext uri="{FF2B5EF4-FFF2-40B4-BE49-F238E27FC236}">
                <a16:creationId xmlns:a16="http://schemas.microsoft.com/office/drawing/2014/main" id="{B7B4008F-4958-9784-DFFF-0D970D416768}"/>
              </a:ext>
            </a:extLst>
          </p:cNvPr>
          <p:cNvSpPr txBox="1"/>
          <p:nvPr/>
        </p:nvSpPr>
        <p:spPr>
          <a:xfrm>
            <a:off x="3695536" y="3251594"/>
            <a:ext cx="1678258" cy="651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de pavimento híbrido de poliuretano-cemento liso de alta resistencia y acabado brillante</a:t>
            </a:r>
            <a:endParaRPr lang="es-ES" sz="1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84">
            <a:extLst>
              <a:ext uri="{FF2B5EF4-FFF2-40B4-BE49-F238E27FC236}">
                <a16:creationId xmlns:a16="http://schemas.microsoft.com/office/drawing/2014/main" id="{6FF4F2D9-7E3F-08B8-81DE-424E67F6E298}"/>
              </a:ext>
            </a:extLst>
          </p:cNvPr>
          <p:cNvSpPr txBox="1"/>
          <p:nvPr/>
        </p:nvSpPr>
        <p:spPr>
          <a:xfrm>
            <a:off x="5930591" y="3227573"/>
            <a:ext cx="1678258" cy="651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de pavimento híbrido de poliuretano-cemento de alta resistencia, con acabado brillante y textura rugosa</a:t>
            </a:r>
            <a:endParaRPr lang="es-ES" sz="1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9B1D3A09-DB10-D9FE-D962-6A016072358F}"/>
              </a:ext>
            </a:extLst>
          </p:cNvPr>
          <p:cNvSpPr txBox="1"/>
          <p:nvPr/>
        </p:nvSpPr>
        <p:spPr>
          <a:xfrm>
            <a:off x="3547440" y="4088776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300" b="1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2_HS_21_G</a:t>
            </a:r>
            <a:r>
              <a:rPr lang="es-ES" sz="1300" b="1"/>
              <a:t>  </a:t>
            </a:r>
            <a:endParaRPr kumimoji="0" lang="es-ES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DD176A40-A087-F57D-96E1-7C072F1302BC}"/>
              </a:ext>
            </a:extLst>
          </p:cNvPr>
          <p:cNvSpPr txBox="1"/>
          <p:nvPr/>
        </p:nvSpPr>
        <p:spPr>
          <a:xfrm>
            <a:off x="5818041" y="4064163"/>
            <a:ext cx="1971249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300" b="1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2_HB_22_G</a:t>
            </a:r>
            <a:r>
              <a:rPr kumimoji="0" lang="es-E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29" name="Straight Connector 62">
            <a:extLst>
              <a:ext uri="{FF2B5EF4-FFF2-40B4-BE49-F238E27FC236}">
                <a16:creationId xmlns:a16="http://schemas.microsoft.com/office/drawing/2014/main" id="{93D4F0F8-C78C-E64C-924B-41CA897B1C9E}"/>
              </a:ext>
            </a:extLst>
          </p:cNvPr>
          <p:cNvCxnSpPr/>
          <p:nvPr/>
        </p:nvCxnSpPr>
        <p:spPr>
          <a:xfrm>
            <a:off x="5713439" y="1374875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Imagen 29">
            <a:extLst>
              <a:ext uri="{FF2B5EF4-FFF2-40B4-BE49-F238E27FC236}">
                <a16:creationId xmlns:a16="http://schemas.microsoft.com/office/drawing/2014/main" id="{125E1916-E5F9-6868-CC2B-4B26111092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09531" y="2083521"/>
            <a:ext cx="1388267" cy="984619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2105EE2B-B406-D984-F99E-866FAEF95E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38931" y="2081125"/>
            <a:ext cx="1388266" cy="984619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7ABD9601-5B6F-FD17-1873-EFBD6C8B88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52860" y="2081125"/>
            <a:ext cx="1388266" cy="98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8569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60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Gama </a:t>
            </a:r>
            <a:r>
              <a:rPr lang="es-ES" b="1" dirty="0">
                <a:solidFill>
                  <a:schemeClr val="bg1"/>
                </a:solidFill>
              </a:rPr>
              <a:t>Sikafloor® PurCem®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709733FB-D322-5DBE-D713-3AE311986E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9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28679B20-270D-B677-C952-3959B281F19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9" y="4767263"/>
            <a:ext cx="7410228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8E513EE7-F5C1-52F1-4D97-DD1DE7177C2D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2663665-9B22-4B68-82D7-634FD0D718E0}"/>
              </a:ext>
            </a:extLst>
          </p:cNvPr>
          <p:cNvSpPr/>
          <p:nvPr/>
        </p:nvSpPr>
        <p:spPr>
          <a:xfrm>
            <a:off x="3650045" y="1365927"/>
            <a:ext cx="198468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i="0" u="none" strike="noStrike" baseline="0" dirty="0">
                <a:latin typeface="Calibri" panose="020F0502020204030204" pitchFamily="34" charset="0"/>
              </a:rPr>
              <a:t>Sikafloor® PurCem® HB-26 </a:t>
            </a:r>
            <a:r>
              <a:rPr lang="es-ES" sz="1050" b="1" i="0" u="none" strike="noStrike" baseline="0" dirty="0" err="1">
                <a:latin typeface="Calibri" panose="020F0502020204030204" pitchFamily="34" charset="0"/>
              </a:rPr>
              <a:t>Gloss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3A9EE8E-EBC8-40E8-A7C4-EB5621D3DABC}"/>
              </a:ext>
            </a:extLst>
          </p:cNvPr>
          <p:cNvSpPr/>
          <p:nvPr/>
        </p:nvSpPr>
        <p:spPr>
          <a:xfrm>
            <a:off x="5723905" y="1359573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i="0" u="none" strike="noStrike" baseline="0" dirty="0">
                <a:latin typeface="Calibri" panose="020F0502020204030204" pitchFamily="34" charset="0"/>
              </a:rPr>
              <a:t>Sikafloor® PurCem® HS-26 </a:t>
            </a:r>
            <a:r>
              <a:rPr lang="es-ES" sz="1050" b="1" i="0" u="none" strike="noStrike" baseline="0" dirty="0" err="1">
                <a:latin typeface="Calibri" panose="020F0502020204030204" pitchFamily="34" charset="0"/>
              </a:rPr>
              <a:t>Gloss</a:t>
            </a:r>
            <a:endParaRPr lang="en-US" sz="1050" b="1" dirty="0">
              <a:solidFill>
                <a:schemeClr val="bg1"/>
              </a:solidFill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F325144-0920-4C28-B175-22E182C0E139}"/>
              </a:ext>
            </a:extLst>
          </p:cNvPr>
          <p:cNvCxnSpPr/>
          <p:nvPr/>
        </p:nvCxnSpPr>
        <p:spPr>
          <a:xfrm>
            <a:off x="3593904" y="1382949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AD0081B-8449-462A-B4F5-2FA7BEF44EF7}"/>
              </a:ext>
            </a:extLst>
          </p:cNvPr>
          <p:cNvCxnSpPr/>
          <p:nvPr/>
        </p:nvCxnSpPr>
        <p:spPr>
          <a:xfrm>
            <a:off x="5673247" y="1382949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28AFF06C-A63A-4A40-A0DB-6AAE5F7CC0FB}"/>
              </a:ext>
            </a:extLst>
          </p:cNvPr>
          <p:cNvSpPr txBox="1"/>
          <p:nvPr/>
        </p:nvSpPr>
        <p:spPr>
          <a:xfrm>
            <a:off x="3784288" y="3306614"/>
            <a:ext cx="1678258" cy="651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de pavimento híbrido de poliuretano-cemento, de uso medio a pesado, con acabado brillante y textura ligera</a:t>
            </a:r>
            <a:endParaRPr lang="es-ES" sz="1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58D11DF-8BF5-4555-A8BE-C65DF9D11B9D}"/>
              </a:ext>
            </a:extLst>
          </p:cNvPr>
          <p:cNvSpPr txBox="1"/>
          <p:nvPr/>
        </p:nvSpPr>
        <p:spPr>
          <a:xfrm>
            <a:off x="5870405" y="3306614"/>
            <a:ext cx="1678258" cy="651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de pavimento híbrido de poliuretano-cemento liso, de uso medio a pesado, con acabado brillante</a:t>
            </a:r>
            <a:endParaRPr lang="es-ES" sz="1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94A8A2F-4E2F-8D4C-F9C4-C176DF8B99A2}"/>
              </a:ext>
            </a:extLst>
          </p:cNvPr>
          <p:cNvSpPr txBox="1"/>
          <p:nvPr/>
        </p:nvSpPr>
        <p:spPr>
          <a:xfrm>
            <a:off x="3624360" y="4143796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300" b="1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2_HB_26_G</a:t>
            </a:r>
            <a:r>
              <a:rPr lang="es-ES" sz="1300" b="1"/>
              <a:t>  </a:t>
            </a:r>
            <a:endParaRPr kumimoji="0" lang="es-ES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596D989-D6E9-2D7D-441B-79C05215E694}"/>
              </a:ext>
            </a:extLst>
          </p:cNvPr>
          <p:cNvSpPr txBox="1"/>
          <p:nvPr/>
        </p:nvSpPr>
        <p:spPr>
          <a:xfrm>
            <a:off x="5723906" y="4143204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300" b="1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2_HS_26_G</a:t>
            </a:r>
            <a:r>
              <a:rPr lang="es-ES" sz="1300" b="1"/>
              <a:t>  </a:t>
            </a:r>
          </a:p>
        </p:txBody>
      </p:sp>
      <p:sp>
        <p:nvSpPr>
          <p:cNvPr id="3" name="Rectangle 55">
            <a:extLst>
              <a:ext uri="{FF2B5EF4-FFF2-40B4-BE49-F238E27FC236}">
                <a16:creationId xmlns:a16="http://schemas.microsoft.com/office/drawing/2014/main" id="{DDD43217-4463-9909-F03B-9148241E762E}"/>
              </a:ext>
            </a:extLst>
          </p:cNvPr>
          <p:cNvSpPr/>
          <p:nvPr/>
        </p:nvSpPr>
        <p:spPr>
          <a:xfrm>
            <a:off x="1453392" y="1367611"/>
            <a:ext cx="2095217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100" b="1" dirty="0">
              <a:latin typeface="Calibri" panose="020F0502020204030204" pitchFamily="34" charset="0"/>
            </a:endParaRPr>
          </a:p>
          <a:p>
            <a:pPr algn="ctr"/>
            <a:r>
              <a:rPr lang="es-ES" sz="1100" b="1" dirty="0">
                <a:latin typeface="Calibri" panose="020F0502020204030204" pitchFamily="34" charset="0"/>
              </a:rPr>
              <a:t>Sikafloor® PurCem® HB-23 </a:t>
            </a:r>
            <a:r>
              <a:rPr lang="es-ES" sz="1100" b="1" dirty="0" err="1">
                <a:latin typeface="Calibri" panose="020F0502020204030204" pitchFamily="34" charset="0"/>
              </a:rPr>
              <a:t>Gloss</a:t>
            </a:r>
            <a:endParaRPr lang="en-US" sz="1100" b="1" dirty="0">
              <a:latin typeface="Calibri" panose="020F0502020204030204" pitchFamily="34" charset="0"/>
            </a:endParaRPr>
          </a:p>
          <a:p>
            <a:pPr algn="ctr"/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70426B9-0357-9E83-B831-1555650F9F2F}"/>
              </a:ext>
            </a:extLst>
          </p:cNvPr>
          <p:cNvSpPr txBox="1"/>
          <p:nvPr/>
        </p:nvSpPr>
        <p:spPr>
          <a:xfrm>
            <a:off x="1577357" y="4127867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6_2_HB_23_G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68AD561-AD77-BA73-73DD-4CABBADFFA57}"/>
              </a:ext>
            </a:extLst>
          </p:cNvPr>
          <p:cNvSpPr txBox="1"/>
          <p:nvPr/>
        </p:nvSpPr>
        <p:spPr>
          <a:xfrm>
            <a:off x="1448843" y="3243193"/>
            <a:ext cx="2095216" cy="743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de pavimento híbrido de poliuretano-cemento de alta resistencia, con acabado brillante y textura rugosa</a:t>
            </a:r>
            <a:endParaRPr lang="es-ES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AFA4A93A-B6FD-DFD7-0592-9A4DC6A280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5396" y="2079440"/>
            <a:ext cx="1388266" cy="984619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75572AF9-FCDB-882A-94FC-9C7B68893F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93742" y="2087605"/>
            <a:ext cx="1388266" cy="968286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B57F1295-AEA3-0BFC-7F83-76477E54B79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4399" y="2079438"/>
            <a:ext cx="1388266" cy="98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6315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8.0&quot;&gt;&lt;object type=&quot;1&quot; unique_id=&quot;10001&quot;&gt;&lt;object type=&quot;2&quot; unique_id=&quot;22003&quot;&gt;&lt;object type=&quot;3&quot; unique_id=&quot;22004&quot;&gt;&lt;property id=&quot;20148&quot; value=&quot;5&quot;/&gt;&lt;property id=&quot;20300&quot; value=&quot;Slide 1&quot;/&gt;&lt;property id=&quot;20307&quot; value=&quot;282&quot;/&gt;&lt;/object&gt;&lt;object type=&quot;3&quot; unique_id=&quot;22005&quot;&gt;&lt;property id=&quot;20148&quot; value=&quot;5&quot;/&gt;&lt;property id=&quot;20300&quot; value=&quot;Slide 2&quot;/&gt;&lt;property id=&quot;20307&quot; value=&quot;303&quot;/&gt;&lt;/object&gt;&lt;object type=&quot;3&quot; unique_id=&quot;22006&quot;&gt;&lt;property id=&quot;20148&quot; value=&quot;5&quot;/&gt;&lt;property id=&quot;20300&quot; value=&quot;Slide 3&quot;/&gt;&lt;property id=&quot;20307&quot; value=&quot;283&quot;/&gt;&lt;/object&gt;&lt;object type=&quot;3&quot; unique_id=&quot;22007&quot;&gt;&lt;property id=&quot;20148&quot; value=&quot;5&quot;/&gt;&lt;property id=&quot;20300&quot; value=&quot;Slide 4&quot;/&gt;&lt;property id=&quot;20307&quot; value=&quot;304&quot;/&gt;&lt;/object&gt;&lt;object type=&quot;3&quot; unique_id=&quot;22008&quot;&gt;&lt;property id=&quot;20148&quot; value=&quot;5&quot;/&gt;&lt;property id=&quot;20300&quot; value=&quot;Slide 5&quot;/&gt;&lt;property id=&quot;20307&quot; value=&quot;284&quot;/&gt;&lt;/object&gt;&lt;object type=&quot;3&quot; unique_id=&quot;22009&quot;&gt;&lt;property id=&quot;20148&quot; value=&quot;5&quot;/&gt;&lt;property id=&quot;20300&quot; value=&quot;Slide 6&quot;/&gt;&lt;property id=&quot;20307&quot; value=&quot;305&quot;/&gt;&lt;/object&gt;&lt;object type=&quot;3&quot; unique_id=&quot;22010&quot;&gt;&lt;property id=&quot;20148&quot; value=&quot;5&quot;/&gt;&lt;property id=&quot;20300&quot; value=&quot;Slide 7 - &amp;quot;Table of contents&amp;quot;&quot;/&gt;&lt;property id=&quot;20307&quot; value=&quot;259&quot;/&gt;&lt;/object&gt;&lt;object type=&quot;3&quot; unique_id=&quot;22011&quot;&gt;&lt;property id=&quot;20148&quot; value=&quot;5&quot;/&gt;&lt;property id=&quot;20300&quot; value=&quot;Slide 8 - &amp;quot;Design GRID&amp;quot;&quot;/&gt;&lt;property id=&quot;20307&quot; value=&quot;310&quot;/&gt;&lt;/object&gt;&lt;object type=&quot;3&quot; unique_id=&quot;22012&quot;&gt;&lt;property id=&quot;20148&quot; value=&quot;5&quot;/&gt;&lt;property id=&quot;20300&quot; value=&quot;Slide 9 - &amp;quot;Basic elements - colors&amp;quot;&quot;/&gt;&lt;property id=&quot;20307&quot; value=&quot;261&quot;/&gt;&lt;/object&gt;&lt;object type=&quot;3&quot; unique_id=&quot;22013&quot;&gt;&lt;property id=&quot;20148&quot; value=&quot;5&quot;/&gt;&lt;property id=&quot;20300&quot; value=&quot;Slide 10 - &amp;quot;Basic elements - lines, arrows and shapes&amp;quot;&quot;/&gt;&lt;property id=&quot;20307&quot; value=&quot;262&quot;/&gt;&lt;/object&gt;&lt;object type=&quot;3&quot; unique_id=&quot;22014&quot;&gt;&lt;property id=&quot;20148&quot; value=&quot;5&quot;/&gt;&lt;property id=&quot;20300&quot; value=&quot;Slide 11&quot;/&gt;&lt;property id=&quot;20307&quot; value=&quot;263&quot;/&gt;&lt;/object&gt;&lt;object type=&quot;3&quot; unique_id=&quot;22015&quot;&gt;&lt;property id=&quot;20148&quot; value=&quot;5&quot;/&gt;&lt;property id=&quot;20300&quot; value=&quot;Slide 12&quot;/&gt;&lt;property id=&quot;20307&quot; value=&quot;306&quot;/&gt;&lt;/object&gt;&lt;object type=&quot;3&quot; unique_id=&quot;22016&quot;&gt;&lt;property id=&quot;20148&quot; value=&quot;5&quot;/&gt;&lt;property id=&quot;20300&quot; value=&quot;Slide 13&quot;/&gt;&lt;property id=&quot;20307&quot; value=&quot;264&quot;/&gt;&lt;/object&gt;&lt;object type=&quot;3&quot; unique_id=&quot;22017&quot;&gt;&lt;property id=&quot;20148&quot; value=&quot;5&quot;/&gt;&lt;property id=&quot;20300&quot; value=&quot;Slide 14 - &amp;quot;Example - headline (24pt)&amp;quot;&quot;/&gt;&lt;property id=&quot;20307&quot; value=&quot;265&quot;/&gt;&lt;/object&gt;&lt;object type=&quot;3&quot; unique_id=&quot;22018&quot;&gt;&lt;property id=&quot;20148&quot; value=&quot;5&quot;/&gt;&lt;property id=&quot;20300&quot; value=&quot;Slide 15 - &amp;quot;example - listing (one text field)&amp;quot;&quot;/&gt;&lt;property id=&quot;20307&quot; value=&quot;266&quot;/&gt;&lt;/object&gt;&lt;object type=&quot;3&quot; unique_id=&quot;22019&quot;&gt;&lt;property id=&quot;20148&quot; value=&quot;5&quot;/&gt;&lt;property id=&quot;20300&quot; value=&quot;Slide 16 - &amp;quot;Example - listing (two text fields)&amp;quot;&quot;/&gt;&lt;property id=&quot;20307&quot; value=&quot;312&quot;/&gt;&lt;/object&gt;&lt;object type=&quot;3&quot; unique_id=&quot;22020&quot;&gt;&lt;property id=&quot;20148&quot; value=&quot;5&quot;/&gt;&lt;property id=&quot;20300&quot; value=&quot;Slide 17 - &amp;quot;Example - (two text fields with pictures)&amp;quot;&quot;/&gt;&lt;property id=&quot;20307&quot; value=&quot;313&quot;/&gt;&lt;/object&gt;&lt;object type=&quot;3&quot; unique_id=&quot;22021&quot;&gt;&lt;property id=&quot;20148&quot; value=&quot;5&quot;/&gt;&lt;property id=&quot;20300&quot; value=&quot;Slide 18 - &amp;quot;Example - table on white background&amp;quot;&quot;/&gt;&lt;property id=&quot;20307&quot; value=&quot;269&quot;/&gt;&lt;/object&gt;&lt;object type=&quot;3&quot; unique_id=&quot;22022&quot;&gt;&lt;property id=&quot;20148&quot; value=&quot;5&quot;/&gt;&lt;property id=&quot;20300&quot; value=&quot;Slide 19 - &amp;quot;Example - line diagram&amp;quot;&quot;/&gt;&lt;property id=&quot;20307&quot; value=&quot;292&quot;/&gt;&lt;/object&gt;&lt;object type=&quot;3&quot; unique_id=&quot;22023&quot;&gt;&lt;property id=&quot;20148&quot; value=&quot;5&quot;/&gt;&lt;property id=&quot;20300&quot; value=&quot;Slide 20 - &amp;quot;Example - column diagram (grouped)&amp;quot;&quot;/&gt;&lt;property id=&quot;20307&quot; value=&quot;293&quot;/&gt;&lt;/object&gt;&lt;object type=&quot;3&quot; unique_id=&quot;22024&quot;&gt;&lt;property id=&quot;20148&quot; value=&quot;5&quot;/&gt;&lt;property id=&quot;20300&quot; value=&quot;Slide 21 - &amp;quot;Example - column diagram (stacked)&amp;quot;&quot;/&gt;&lt;property id=&quot;20307&quot; value=&quot;294&quot;/&gt;&lt;/object&gt;&lt;object type=&quot;3&quot; unique_id=&quot;22025&quot;&gt;&lt;property id=&quot;20148&quot; value=&quot;5&quot;/&gt;&lt;property id=&quot;20300&quot; value=&quot;Slide 22 - &amp;quot;Example - bar diagram&amp;quot;&quot;/&gt;&lt;property id=&quot;20307&quot; value=&quot;295&quot;/&gt;&lt;/object&gt;&lt;object type=&quot;3&quot; unique_id=&quot;22026&quot;&gt;&lt;property id=&quot;20148&quot; value=&quot;5&quot;/&gt;&lt;property id=&quot;20300&quot; value=&quot;Slide 23 - &amp;quot;Example - bar diagram (stacked)&amp;quot;&quot;/&gt;&lt;property id=&quot;20307&quot; value=&quot;296&quot;/&gt;&lt;/object&gt;&lt;object type=&quot;3&quot; unique_id=&quot;22027&quot;&gt;&lt;property id=&quot;20148&quot; value=&quot;5&quot;/&gt;&lt;property id=&quot;20300&quot; value=&quot;Slide 24 - &amp;quot;Example - circle diagrams&amp;quot;&quot;/&gt;&lt;property id=&quot;20307&quot; value=&quot;297&quot;/&gt;&lt;/object&gt;&lt;object type=&quot;3&quot; unique_id=&quot;22028&quot;&gt;&lt;property id=&quot;20148&quot; value=&quot;5&quot;/&gt;&lt;property id=&quot;20300&quot; value=&quot;Slide 25 - &amp;quot;Example - circle diagrams&amp;quot;&quot;/&gt;&lt;property id=&quot;20307&quot; value=&quot;298&quot;/&gt;&lt;/object&gt;&lt;object type=&quot;3&quot; unique_id=&quot;22029&quot;&gt;&lt;property id=&quot;20148&quot; value=&quot;5&quot;/&gt;&lt;property id=&quot;20300&quot; value=&quot;Slide 26 - &amp;quot;Example - pie diagram&amp;quot;&quot;/&gt;&lt;property id=&quot;20307&quot; value=&quot;299&quot;/&gt;&lt;/object&gt;&lt;object type=&quot;3&quot; unique_id=&quot;22030&quot;&gt;&lt;property id=&quot;20148&quot; value=&quot;5&quot;/&gt;&lt;property id=&quot;20300&quot; value=&quot;Slide 27 - &amp;quot;Example - organizational diagram&amp;quot;&quot;/&gt;&lt;property id=&quot;20307&quot; value=&quot;300&quot;/&gt;&lt;/object&gt;&lt;object type=&quot;3&quot; unique_id=&quot;22031&quot;&gt;&lt;property id=&quot;20148&quot; value=&quot;5&quot;/&gt;&lt;property id=&quot;20300&quot; value=&quot;Slide 28 - &amp;quot;Example - organizational diagram&amp;quot;&quot;/&gt;&lt;property id=&quot;20307&quot; value=&quot;301&quot;/&gt;&lt;/object&gt;&lt;object type=&quot;3&quot; unique_id=&quot;22032&quot;&gt;&lt;property id=&quot;20148&quot; value=&quot;5&quot;/&gt;&lt;property id=&quot;20300&quot; value=&quot;Slide 29 - &amp;quot;Example - timeline or flowchart&amp;quot;&quot;/&gt;&lt;property id=&quot;20307&quot; value=&quot;302&quot;/&gt;&lt;/object&gt;&lt;object type=&quot;3&quot; unique_id=&quot;22033&quot;&gt;&lt;property id=&quot;20148&quot; value=&quot;5&quot;/&gt;&lt;property id=&quot;20300&quot; value=&quot;Slide 30 - &amp;quot;Example - 1 picture with text&amp;quot;&quot;/&gt;&lt;property id=&quot;20307&quot; value=&quot;286&quot;/&gt;&lt;/object&gt;&lt;object type=&quot;3&quot; unique_id=&quot;22034&quot;&gt;&lt;property id=&quot;20148&quot; value=&quot;5&quot;/&gt;&lt;property id=&quot;20300&quot; value=&quot;Slide 31 - &amp;quot;Example - 1 picture&amp;quot;&quot;/&gt;&lt;property id=&quot;20307&quot; value=&quot;272&quot;/&gt;&lt;/object&gt;&lt;object type=&quot;3&quot; unique_id=&quot;22035&quot;&gt;&lt;property id=&quot;20148&quot; value=&quot;5&quot;/&gt;&lt;property id=&quot;20300&quot; value=&quot;Slide 32 - &amp;quot;Example - 1 picture on yellow background&amp;quot;&quot;/&gt;&lt;property id=&quot;20307&quot; value=&quot;307&quot;/&gt;&lt;/object&gt;&lt;object type=&quot;3&quot; unique_id=&quot;22036&quot;&gt;&lt;property id=&quot;20148&quot; value=&quot;5&quot;/&gt;&lt;property id=&quot;20300&quot; value=&quot;Slide 33 - &amp;quot;Example - 1 picture on industry &amp;amp; automotive background&amp;quot;&quot;/&gt;&lt;property id=&quot;20307&quot; value=&quot;308&quot;/&gt;&lt;/object&gt;&lt;object type=&quot;3&quot; unique_id=&quot;22037&quot;&gt;&lt;property id=&quot;20148&quot; value=&quot;5&quot;/&gt;&lt;property id=&quot;20300&quot; value=&quot;Slide 34 - &amp;quot;Example - full format picture&amp;quot;&quot;/&gt;&lt;property id=&quot;20307&quot; value=&quot;280&quot;/&gt;&lt;/object&gt;&lt;object type=&quot;3&quot; unique_id=&quot;22038&quot;&gt;&lt;property id=&quot;20148&quot; value=&quot;5&quot;/&gt;&lt;property id=&quot;20300&quot; value=&quot;Slide 35 - &amp;quot;Example - 4 pictures with text&amp;quot;&quot;/&gt;&lt;property id=&quot;20307&quot; value=&quot;285&quot;/&gt;&lt;/object&gt;&lt;object type=&quot;3&quot; unique_id=&quot;22039&quot;&gt;&lt;property id=&quot;20148&quot; value=&quot;5&quot;/&gt;&lt;property id=&quot;20300&quot; value=&quot;Slide 36 - &amp;quot;Example - 2 pictures with text&amp;quot;&quot;/&gt;&lt;property id=&quot;20307&quot; value=&quot;287&quot;/&gt;&lt;/object&gt;&lt;object type=&quot;3&quot; unique_id=&quot;22040&quot;&gt;&lt;property id=&quot;20148&quot; value=&quot;5&quot;/&gt;&lt;property id=&quot;20300&quot; value=&quot;Slide 37 - &amp;quot;Example - 4 pictures&amp;quot;&quot;/&gt;&lt;property id=&quot;20307&quot; value=&quot;288&quot;/&gt;&lt;/object&gt;&lt;object type=&quot;3&quot; unique_id=&quot;22041&quot;&gt;&lt;property id=&quot;20148&quot; value=&quot;5&quot;/&gt;&lt;property id=&quot;20300&quot; value=&quot;Slide 38&quot;/&gt;&lt;property id=&quot;20307&quot; value=&quot;278&quot;/&gt;&lt;/object&gt;&lt;object type=&quot;3&quot; unique_id=&quot;22042&quot;&gt;&lt;property id=&quot;20148&quot; value=&quot;5&quot;/&gt;&lt;property id=&quot;20300&quot; value=&quot;Slide 39&quot;/&gt;&lt;property id=&quot;20307&quot; value=&quot;309&quot;/&gt;&lt;/object&gt;&lt;/object&gt;&lt;object type=&quot;8&quot; unique_id=&quot;22083&quot;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4193w32QWcpXbOL4JPAA"/>
</p:tagLst>
</file>

<file path=ppt/theme/theme1.xml><?xml version="1.0" encoding="utf-8"?>
<a:theme xmlns:a="http://schemas.openxmlformats.org/drawingml/2006/main" name="Sika PowerPoint Template 16.9 0614">
  <a:themeElements>
    <a:clrScheme name="Sik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5B325"/>
      </a:accent1>
      <a:accent2>
        <a:srgbClr val="C0C5CC"/>
      </a:accent2>
      <a:accent3>
        <a:srgbClr val="7C7C7C"/>
      </a:accent3>
      <a:accent4>
        <a:srgbClr val="4B4B4B"/>
      </a:accent4>
      <a:accent5>
        <a:srgbClr val="50758D"/>
      </a:accent5>
      <a:accent6>
        <a:srgbClr val="468283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 algn="l">
          <a:buClr>
            <a:schemeClr val="accent1"/>
          </a:buClr>
          <a:buFont typeface="Wingdings" panose="05000000000000000000" pitchFamily="2" charset="2"/>
          <a:buChar char="§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ka Powerpoint Template.potx" id="{5B1B824C-E867-4AF7-99BD-F6038748ECB4}" vid="{5F3F09C4-FA1D-4261-BB17-3D3238457305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6B0364C6707847913B4CB678D3A6FA" ma:contentTypeVersion="10" ma:contentTypeDescription="Create a new document." ma:contentTypeScope="" ma:versionID="53bf3dded6ff0c02aa585059f109b0e2">
  <xsd:schema xmlns:xsd="http://www.w3.org/2001/XMLSchema" xmlns:xs="http://www.w3.org/2001/XMLSchema" xmlns:p="http://schemas.microsoft.com/office/2006/metadata/properties" xmlns:ns2="218461ba-9212-4fd6-9292-53d75bec027b" xmlns:ns3="6b2842d7-2c11-4649-9224-3f06aacd2a6e" targetNamespace="http://schemas.microsoft.com/office/2006/metadata/properties" ma:root="true" ma:fieldsID="255b43c3fbb0503bdd40730785d6db2e" ns2:_="" ns3:_="">
    <xsd:import namespace="218461ba-9212-4fd6-9292-53d75bec027b"/>
    <xsd:import namespace="6b2842d7-2c11-4649-9224-3f06aacd2a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8461ba-9212-4fd6-9292-53d75bec02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a3faffa6-f046-41e0-b0b2-30891ad695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2842d7-2c11-4649-9224-3f06aacd2a6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c076eda-9da5-44ae-8c84-f376a3b500ee}" ma:internalName="TaxCatchAll" ma:showField="CatchAllData" ma:web="6b2842d7-2c11-4649-9224-3f06aacd2a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18461ba-9212-4fd6-9292-53d75bec027b">
      <Terms xmlns="http://schemas.microsoft.com/office/infopath/2007/PartnerControls"/>
    </lcf76f155ced4ddcb4097134ff3c332f>
    <TaxCatchAll xmlns="6b2842d7-2c11-4649-9224-3f06aacd2a6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FEAF15-633F-4137-BEC2-8EBFE2E169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8461ba-9212-4fd6-9292-53d75bec027b"/>
    <ds:schemaRef ds:uri="6b2842d7-2c11-4649-9224-3f06aacd2a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19294BE-8A62-4DAB-88E8-57A4929F4EE5}">
  <ds:schemaRefs>
    <ds:schemaRef ds:uri="6b2842d7-2c11-4649-9224-3f06aacd2a6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218461ba-9212-4fd6-9292-53d75bec027b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01ABBF6-6BB6-487E-867C-862C720BD2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ka Powerpoint Template</Template>
  <TotalTime>557</TotalTime>
  <Words>1057</Words>
  <Application>Microsoft Office PowerPoint</Application>
  <PresentationFormat>Presentación en pantalla (16:9)</PresentationFormat>
  <Paragraphs>114</Paragraphs>
  <Slides>10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6" baseType="lpstr">
      <vt:lpstr>Arial</vt:lpstr>
      <vt:lpstr>Calibri</vt:lpstr>
      <vt:lpstr>Klavika Light</vt:lpstr>
      <vt:lpstr>Wingdings</vt:lpstr>
      <vt:lpstr>Sika PowerPoint Template 16.9 0614</vt:lpstr>
      <vt:lpstr>think-cell Slide</vt:lpstr>
      <vt:lpstr>Presentación de PowerPoint</vt:lpstr>
      <vt:lpstr>ÍNDICE</vt:lpstr>
      <vt:lpstr>Catálogo objetos bim sika s.a.u. españa</vt:lpstr>
      <vt:lpstr>Catálogo objetos bim sika s.a.u. españa</vt:lpstr>
      <vt:lpstr>Catálogo objetos bim sika s.a.u. españa</vt:lpstr>
      <vt:lpstr>Catálogo objetos bim sika s.a.u. españa</vt:lpstr>
      <vt:lpstr>Catálogo objetos bim sika s.a.u. españa</vt:lpstr>
      <vt:lpstr>Catálogo objetos bim sika s.a.u. españa</vt:lpstr>
      <vt:lpstr>Catálogo objetos bim sika s.a.u. españa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exander Aeschbach</dc:creator>
  <cp:lastModifiedBy>Mauricio Pena</cp:lastModifiedBy>
  <cp:revision>8</cp:revision>
  <dcterms:created xsi:type="dcterms:W3CDTF">2023-02-09T09:38:26Z</dcterms:created>
  <dcterms:modified xsi:type="dcterms:W3CDTF">2024-02-05T07:3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6B0364C6707847913B4CB678D3A6FA</vt:lpwstr>
  </property>
  <property fmtid="{D5CDD505-2E9C-101B-9397-08002B2CF9AE}" pid="3" name="MediaServiceImageTags">
    <vt:lpwstr/>
  </property>
</Properties>
</file>